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2"/>
  </p:notesMasterIdLst>
  <p:handoutMasterIdLst>
    <p:handoutMasterId r:id="rId43"/>
  </p:handoutMasterIdLst>
  <p:sldIdLst>
    <p:sldId id="141169004" r:id="rId6"/>
    <p:sldId id="141169013" r:id="rId7"/>
    <p:sldId id="141169018" r:id="rId8"/>
    <p:sldId id="141169016" r:id="rId9"/>
    <p:sldId id="141169015" r:id="rId10"/>
    <p:sldId id="141169014" r:id="rId11"/>
    <p:sldId id="141169058" r:id="rId12"/>
    <p:sldId id="141169042" r:id="rId13"/>
    <p:sldId id="141169043" r:id="rId14"/>
    <p:sldId id="141169012" r:id="rId15"/>
    <p:sldId id="141169011" r:id="rId16"/>
    <p:sldId id="141169006" r:id="rId17"/>
    <p:sldId id="141169044" r:id="rId18"/>
    <p:sldId id="141169045" r:id="rId19"/>
    <p:sldId id="141169046" r:id="rId20"/>
    <p:sldId id="141169047" r:id="rId21"/>
    <p:sldId id="141169010" r:id="rId22"/>
    <p:sldId id="141169025" r:id="rId23"/>
    <p:sldId id="141169024" r:id="rId24"/>
    <p:sldId id="141169048" r:id="rId25"/>
    <p:sldId id="141169049" r:id="rId26"/>
    <p:sldId id="141169050" r:id="rId27"/>
    <p:sldId id="141169051" r:id="rId28"/>
    <p:sldId id="141169052" r:id="rId29"/>
    <p:sldId id="141169053" r:id="rId30"/>
    <p:sldId id="141169022" r:id="rId31"/>
    <p:sldId id="141169021" r:id="rId32"/>
    <p:sldId id="141169054" r:id="rId33"/>
    <p:sldId id="141169055" r:id="rId34"/>
    <p:sldId id="141169056" r:id="rId35"/>
    <p:sldId id="141169057" r:id="rId36"/>
    <p:sldId id="141169009" r:id="rId37"/>
    <p:sldId id="141169008" r:id="rId38"/>
    <p:sldId id="141169019" r:id="rId39"/>
    <p:sldId id="141169005" r:id="rId40"/>
    <p:sldId id="141169007" r:id="rId4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8"/>
            <p14:sldId id="141169042"/>
            <p14:sldId id="141169043"/>
            <p14:sldId id="141169012"/>
            <p14:sldId id="141169011"/>
            <p14:sldId id="141169006"/>
            <p14:sldId id="141169044"/>
            <p14:sldId id="141169045"/>
            <p14:sldId id="141169046"/>
            <p14:sldId id="141169047"/>
            <p14:sldId id="141169010"/>
            <p14:sldId id="141169025"/>
            <p14:sldId id="141169024"/>
            <p14:sldId id="141169048"/>
            <p14:sldId id="141169049"/>
            <p14:sldId id="141169050"/>
            <p14:sldId id="141169051"/>
            <p14:sldId id="141169052"/>
            <p14:sldId id="141169053"/>
            <p14:sldId id="141169022"/>
            <p14:sldId id="141169021"/>
            <p14:sldId id="141169054"/>
            <p14:sldId id="141169055"/>
            <p14:sldId id="141169056"/>
            <p14:sldId id="141169057"/>
            <p14:sldId id="141169009"/>
            <p14:sldId id="141169008"/>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 id="{6DAAB2FB-30EA-5977-0A39-AA3A578F2970}" name="Mascha Theiler" initials="MT" userId="S::mascha.theiler@wwf.ch::a0f496a5-efc4-4b52-959d-5e95987cae8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CB222D-9550-439C-AABF-46407881F487}" v="1" dt="2026-02-04T14:38:31.282"/>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21" autoAdjust="0"/>
    <p:restoredTop sz="97020" autoAdjust="0"/>
  </p:normalViewPr>
  <p:slideViewPr>
    <p:cSldViewPr snapToGrid="0" snapToObjects="1" showGuides="1">
      <p:cViewPr varScale="1">
        <p:scale>
          <a:sx n="66" d="100"/>
          <a:sy n="66" d="100"/>
        </p:scale>
        <p:origin x="912" y="27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delSld modSld modSection">
      <pc:chgData name="Mascha Theiler" userId="a0f496a5-efc4-4b52-959d-5e95987cae8c" providerId="ADAL" clId="{46BE184E-840E-48D3-B624-C448522A216F}" dt="2026-02-04T14:38:31.282" v="1952"/>
      <pc:docMkLst>
        <pc:docMk/>
      </pc:docMkLst>
      <pc:sldChg chg="addSp modSp mod">
        <pc:chgData name="Mascha Theiler" userId="a0f496a5-efc4-4b52-959d-5e95987cae8c" providerId="ADAL" clId="{46BE184E-840E-48D3-B624-C448522A216F}" dt="2026-02-04T14:38:31.282" v="1952"/>
        <pc:sldMkLst>
          <pc:docMk/>
          <pc:sldMk cId="212893902" sldId="141169004"/>
        </pc:sldMkLst>
        <pc:spChg chg="mod">
          <ac:chgData name="Mascha Theiler" userId="a0f496a5-efc4-4b52-959d-5e95987cae8c" providerId="ADAL" clId="{46BE184E-840E-48D3-B624-C448522A216F}" dt="2026-02-02T13:51:06.396" v="360" actId="20577"/>
          <ac:spMkLst>
            <pc:docMk/>
            <pc:sldMk cId="212893902" sldId="141169004"/>
            <ac:spMk id="3" creationId="{DBBC741F-F36E-AFA0-3CD1-CD890CC4089C}"/>
          </ac:spMkLst>
        </pc:spChg>
        <pc:spChg chg="mod">
          <ac:chgData name="Mascha Theiler" userId="a0f496a5-efc4-4b52-959d-5e95987cae8c" providerId="ADAL" clId="{46BE184E-840E-48D3-B624-C448522A216F}" dt="2026-02-02T10:46:17.195" v="1"/>
          <ac:spMkLst>
            <pc:docMk/>
            <pc:sldMk cId="212893902" sldId="141169004"/>
            <ac:spMk id="5" creationId="{CC410DC2-7478-767E-6704-A9ADE8F66B15}"/>
          </ac:spMkLst>
        </pc:spChg>
        <pc:picChg chg="add mod">
          <ac:chgData name="Mascha Theiler" userId="a0f496a5-efc4-4b52-959d-5e95987cae8c" providerId="ADAL" clId="{46BE184E-840E-48D3-B624-C448522A216F}" dt="2026-02-02T10:46:05.254" v="0"/>
          <ac:picMkLst>
            <pc:docMk/>
            <pc:sldMk cId="212893902" sldId="141169004"/>
            <ac:picMk id="2" creationId="{72AEF6AE-5BE5-083E-DA66-FF57316376D7}"/>
          </ac:picMkLst>
        </pc:picChg>
        <pc:picChg chg="add mod">
          <ac:chgData name="Mascha Theiler" userId="a0f496a5-efc4-4b52-959d-5e95987cae8c" providerId="ADAL" clId="{46BE184E-840E-48D3-B624-C448522A216F}" dt="2026-02-04T14:38:31.282" v="1952"/>
          <ac:picMkLst>
            <pc:docMk/>
            <pc:sldMk cId="212893902" sldId="141169004"/>
            <ac:picMk id="4" creationId="{F5AFA320-7AA6-4F1C-95E3-9703D2C7908D}"/>
          </ac:picMkLst>
        </pc:picChg>
      </pc:sldChg>
      <pc:sldChg chg="modSp mod">
        <pc:chgData name="Mascha Theiler" userId="a0f496a5-efc4-4b52-959d-5e95987cae8c" providerId="ADAL" clId="{46BE184E-840E-48D3-B624-C448522A216F}" dt="2026-02-02T15:21:25.475" v="1927" actId="20577"/>
        <pc:sldMkLst>
          <pc:docMk/>
          <pc:sldMk cId="806316510" sldId="141169005"/>
        </pc:sldMkLst>
        <pc:spChg chg="mod">
          <ac:chgData name="Mascha Theiler" userId="a0f496a5-efc4-4b52-959d-5e95987cae8c" providerId="ADAL" clId="{46BE184E-840E-48D3-B624-C448522A216F}" dt="2026-02-02T15:20:55.773" v="1919"/>
          <ac:spMkLst>
            <pc:docMk/>
            <pc:sldMk cId="806316510" sldId="141169005"/>
            <ac:spMk id="2" creationId="{C7CFFD2A-3290-0E0C-33BD-371696BE2862}"/>
          </ac:spMkLst>
        </pc:spChg>
        <pc:spChg chg="mod">
          <ac:chgData name="Mascha Theiler" userId="a0f496a5-efc4-4b52-959d-5e95987cae8c" providerId="ADAL" clId="{46BE184E-840E-48D3-B624-C448522A216F}" dt="2026-02-02T15:21:25.475" v="1927" actId="20577"/>
          <ac:spMkLst>
            <pc:docMk/>
            <pc:sldMk cId="806316510" sldId="141169005"/>
            <ac:spMk id="3" creationId="{6B84C24E-A26E-1008-29AE-2AC4F565872B}"/>
          </ac:spMkLst>
        </pc:spChg>
        <pc:spChg chg="mod">
          <ac:chgData name="Mascha Theiler" userId="a0f496a5-efc4-4b52-959d-5e95987cae8c" providerId="ADAL" clId="{46BE184E-840E-48D3-B624-C448522A216F}" dt="2026-02-02T15:20:14.627" v="1897"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2T14:55:10.333" v="1129"/>
        <pc:sldMkLst>
          <pc:docMk/>
          <pc:sldMk cId="1352338648" sldId="141169006"/>
        </pc:sldMkLst>
        <pc:spChg chg="mod">
          <ac:chgData name="Mascha Theiler" userId="a0f496a5-efc4-4b52-959d-5e95987cae8c" providerId="ADAL" clId="{46BE184E-840E-48D3-B624-C448522A216F}" dt="2026-02-02T14:55:10.333" v="1129"/>
          <ac:spMkLst>
            <pc:docMk/>
            <pc:sldMk cId="1352338648" sldId="141169006"/>
            <ac:spMk id="2" creationId="{5963B92A-A274-391A-3FA1-29D1D7D94E15}"/>
          </ac:spMkLst>
        </pc:spChg>
        <pc:spChg chg="mod">
          <ac:chgData name="Mascha Theiler" userId="a0f496a5-efc4-4b52-959d-5e95987cae8c" providerId="ADAL" clId="{46BE184E-840E-48D3-B624-C448522A216F}" dt="2026-02-02T14:38:57.525" v="865" actId="20577"/>
          <ac:spMkLst>
            <pc:docMk/>
            <pc:sldMk cId="1352338648" sldId="141169006"/>
            <ac:spMk id="3" creationId="{78F2B0C8-6B5B-7939-A1A3-AD9A0F6A3AAE}"/>
          </ac:spMkLst>
        </pc:spChg>
        <pc:spChg chg="mod">
          <ac:chgData name="Mascha Theiler" userId="a0f496a5-efc4-4b52-959d-5e95987cae8c" providerId="ADAL" clId="{46BE184E-840E-48D3-B624-C448522A216F}" dt="2026-02-02T13:59:43.360" v="657" actId="20577"/>
          <ac:spMkLst>
            <pc:docMk/>
            <pc:sldMk cId="1352338648" sldId="141169006"/>
            <ac:spMk id="5" creationId="{37C62475-C75C-C10F-830F-21D6A6AF8596}"/>
          </ac:spMkLst>
        </pc:spChg>
      </pc:sldChg>
      <pc:sldChg chg="modSp mod">
        <pc:chgData name="Mascha Theiler" userId="a0f496a5-efc4-4b52-959d-5e95987cae8c" providerId="ADAL" clId="{46BE184E-840E-48D3-B624-C448522A216F}" dt="2026-02-04T13:27:58.625" v="1951" actId="20577"/>
        <pc:sldMkLst>
          <pc:docMk/>
          <pc:sldMk cId="1631104640" sldId="141169007"/>
        </pc:sldMkLst>
        <pc:spChg chg="mod">
          <ac:chgData name="Mascha Theiler" userId="a0f496a5-efc4-4b52-959d-5e95987cae8c" providerId="ADAL" clId="{46BE184E-840E-48D3-B624-C448522A216F}" dt="2026-02-04T13:27:58.625" v="1951" actId="20577"/>
          <ac:spMkLst>
            <pc:docMk/>
            <pc:sldMk cId="1631104640" sldId="141169007"/>
            <ac:spMk id="2" creationId="{5DF1DF01-7253-5EBE-A127-EEA0E1CB73FC}"/>
          </ac:spMkLst>
        </pc:spChg>
        <pc:spChg chg="mod">
          <ac:chgData name="Mascha Theiler" userId="a0f496a5-efc4-4b52-959d-5e95987cae8c" providerId="ADAL" clId="{46BE184E-840E-48D3-B624-C448522A216F}" dt="2026-02-02T15:20:32.980" v="1917"/>
          <ac:spMkLst>
            <pc:docMk/>
            <pc:sldMk cId="1631104640" sldId="141169007"/>
            <ac:spMk id="3" creationId="{E47E1585-A18C-D362-EBDE-7964974C99B3}"/>
          </ac:spMkLst>
        </pc:spChg>
        <pc:spChg chg="mod">
          <ac:chgData name="Mascha Theiler" userId="a0f496a5-efc4-4b52-959d-5e95987cae8c" providerId="ADAL" clId="{46BE184E-840E-48D3-B624-C448522A216F}" dt="2026-02-02T15:20:21.266" v="1916"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02T16:52:46.185" v="1947" actId="20577"/>
        <pc:sldMkLst>
          <pc:docMk/>
          <pc:sldMk cId="3272722806" sldId="141169008"/>
        </pc:sldMkLst>
        <pc:spChg chg="mod">
          <ac:chgData name="Mascha Theiler" userId="a0f496a5-efc4-4b52-959d-5e95987cae8c" providerId="ADAL" clId="{46BE184E-840E-48D3-B624-C448522A216F}" dt="2026-02-02T15:18:36.285" v="1816"/>
          <ac:spMkLst>
            <pc:docMk/>
            <pc:sldMk cId="3272722806" sldId="141169008"/>
            <ac:spMk id="2" creationId="{ECFCEDCD-DE5B-D060-6C03-CC7A1E1A7A29}"/>
          </ac:spMkLst>
        </pc:spChg>
        <pc:spChg chg="mod">
          <ac:chgData name="Mascha Theiler" userId="a0f496a5-efc4-4b52-959d-5e95987cae8c" providerId="ADAL" clId="{46BE184E-840E-48D3-B624-C448522A216F}" dt="2026-02-02T16:52:46.185" v="1947" actId="20577"/>
          <ac:spMkLst>
            <pc:docMk/>
            <pc:sldMk cId="3272722806" sldId="141169008"/>
            <ac:spMk id="3" creationId="{880FAD3B-608E-8487-C49C-4D493E6722BB}"/>
          </ac:spMkLst>
        </pc:spChg>
        <pc:spChg chg="mod">
          <ac:chgData name="Mascha Theiler" userId="a0f496a5-efc4-4b52-959d-5e95987cae8c" providerId="ADAL" clId="{46BE184E-840E-48D3-B624-C448522A216F}" dt="2026-02-02T15:18:44.322" v="1837" actId="20577"/>
          <ac:spMkLst>
            <pc:docMk/>
            <pc:sldMk cId="3272722806" sldId="141169008"/>
            <ac:spMk id="5" creationId="{0B058973-BE94-6C33-CAC8-171B308BF357}"/>
          </ac:spMkLst>
        </pc:spChg>
      </pc:sldChg>
      <pc:sldChg chg="modSp mod">
        <pc:chgData name="Mascha Theiler" userId="a0f496a5-efc4-4b52-959d-5e95987cae8c" providerId="ADAL" clId="{46BE184E-840E-48D3-B624-C448522A216F}" dt="2026-02-02T15:18:22.462" v="1815" actId="11"/>
        <pc:sldMkLst>
          <pc:docMk/>
          <pc:sldMk cId="3989882371" sldId="141169009"/>
        </pc:sldMkLst>
        <pc:spChg chg="mod">
          <ac:chgData name="Mascha Theiler" userId="a0f496a5-efc4-4b52-959d-5e95987cae8c" providerId="ADAL" clId="{46BE184E-840E-48D3-B624-C448522A216F}" dt="2026-02-02T15:17:51.858" v="1793"/>
          <ac:spMkLst>
            <pc:docMk/>
            <pc:sldMk cId="3989882371" sldId="141169009"/>
            <ac:spMk id="2" creationId="{97374FCA-C95A-8B35-75FE-CA1FD25336B6}"/>
          </ac:spMkLst>
        </pc:spChg>
        <pc:spChg chg="mod">
          <ac:chgData name="Mascha Theiler" userId="a0f496a5-efc4-4b52-959d-5e95987cae8c" providerId="ADAL" clId="{46BE184E-840E-48D3-B624-C448522A216F}" dt="2026-02-02T15:18:22.462" v="1815" actId="11"/>
          <ac:spMkLst>
            <pc:docMk/>
            <pc:sldMk cId="3989882371" sldId="141169009"/>
            <ac:spMk id="3" creationId="{03920B92-2D1F-BF6D-82B0-B2635C50A8F6}"/>
          </ac:spMkLst>
        </pc:spChg>
        <pc:spChg chg="mod">
          <ac:chgData name="Mascha Theiler" userId="a0f496a5-efc4-4b52-959d-5e95987cae8c" providerId="ADAL" clId="{46BE184E-840E-48D3-B624-C448522A216F}" dt="2026-02-02T15:17:58.817" v="1812" actId="20577"/>
          <ac:spMkLst>
            <pc:docMk/>
            <pc:sldMk cId="3989882371" sldId="141169009"/>
            <ac:spMk id="5" creationId="{C0382885-ED17-380D-05A5-D5E665C8636A}"/>
          </ac:spMkLst>
        </pc:spChg>
      </pc:sldChg>
      <pc:sldChg chg="addSp delSp modSp mod">
        <pc:chgData name="Mascha Theiler" userId="a0f496a5-efc4-4b52-959d-5e95987cae8c" providerId="ADAL" clId="{46BE184E-840E-48D3-B624-C448522A216F}" dt="2026-02-02T14:51:59.401" v="983" actId="20577"/>
        <pc:sldMkLst>
          <pc:docMk/>
          <pc:sldMk cId="3708738666" sldId="141169010"/>
        </pc:sldMkLst>
        <pc:spChg chg="mod">
          <ac:chgData name="Mascha Theiler" userId="a0f496a5-efc4-4b52-959d-5e95987cae8c" providerId="ADAL" clId="{46BE184E-840E-48D3-B624-C448522A216F}" dt="2026-02-02T14:51:59.401" v="983" actId="20577"/>
          <ac:spMkLst>
            <pc:docMk/>
            <pc:sldMk cId="3708738666" sldId="141169010"/>
            <ac:spMk id="2" creationId="{BB913434-7EAC-453D-B9AB-236218BDCDB4}"/>
          </ac:spMkLst>
        </pc:spChg>
        <pc:spChg chg="mod">
          <ac:chgData name="Mascha Theiler" userId="a0f496a5-efc4-4b52-959d-5e95987cae8c" providerId="ADAL" clId="{46BE184E-840E-48D3-B624-C448522A216F}" dt="2026-02-02T14:50:39.536" v="969"/>
          <ac:spMkLst>
            <pc:docMk/>
            <pc:sldMk cId="3708738666" sldId="141169010"/>
            <ac:spMk id="3" creationId="{6DF64A07-78C7-E739-5166-95E11FF218C3}"/>
          </ac:spMkLst>
        </pc:spChg>
        <pc:spChg chg="mod">
          <ac:chgData name="Mascha Theiler" userId="a0f496a5-efc4-4b52-959d-5e95987cae8c" providerId="ADAL" clId="{46BE184E-840E-48D3-B624-C448522A216F}" dt="2026-02-02T14:49:46.838" v="965" actId="20577"/>
          <ac:spMkLst>
            <pc:docMk/>
            <pc:sldMk cId="3708738666" sldId="141169010"/>
            <ac:spMk id="5" creationId="{7B8C50E7-4CC1-9EAD-D383-CF314AE8DC10}"/>
          </ac:spMkLst>
        </pc:spChg>
        <pc:spChg chg="mod">
          <ac:chgData name="Mascha Theiler" userId="a0f496a5-efc4-4b52-959d-5e95987cae8c" providerId="ADAL" clId="{46BE184E-840E-48D3-B624-C448522A216F}" dt="2026-02-02T14:50:17.759" v="967"/>
          <ac:spMkLst>
            <pc:docMk/>
            <pc:sldMk cId="3708738666" sldId="141169010"/>
            <ac:spMk id="7" creationId="{313A9575-88C4-C0E7-AFC4-BB71A4D869F3}"/>
          </ac:spMkLst>
        </pc:spChg>
        <pc:spChg chg="mod">
          <ac:chgData name="Mascha Theiler" userId="a0f496a5-efc4-4b52-959d-5e95987cae8c" providerId="ADAL" clId="{46BE184E-840E-48D3-B624-C448522A216F}" dt="2026-02-02T14:51:49.852" v="981" actId="20577"/>
          <ac:spMkLst>
            <pc:docMk/>
            <pc:sldMk cId="3708738666" sldId="141169010"/>
            <ac:spMk id="8" creationId="{561A0ABE-4703-EC78-C699-C3A30CE3AC9B}"/>
          </ac:spMkLst>
        </pc:spChg>
        <pc:picChg chg="add mod ord">
          <ac:chgData name="Mascha Theiler" userId="a0f496a5-efc4-4b52-959d-5e95987cae8c" providerId="ADAL" clId="{46BE184E-840E-48D3-B624-C448522A216F}" dt="2026-02-02T14:49:33.853" v="946" actId="1076"/>
          <ac:picMkLst>
            <pc:docMk/>
            <pc:sldMk cId="3708738666" sldId="141169010"/>
            <ac:picMk id="12" creationId="{F850AAD4-B9E2-EA00-7887-344475BC1768}"/>
          </ac:picMkLst>
        </pc:picChg>
      </pc:sldChg>
      <pc:sldChg chg="modSp mod">
        <pc:chgData name="Mascha Theiler" userId="a0f496a5-efc4-4b52-959d-5e95987cae8c" providerId="ADAL" clId="{46BE184E-840E-48D3-B624-C448522A216F}" dt="2026-02-02T13:59:21.552" v="638" actId="20577"/>
        <pc:sldMkLst>
          <pc:docMk/>
          <pc:sldMk cId="1744592103" sldId="141169011"/>
        </pc:sldMkLst>
        <pc:spChg chg="mod">
          <ac:chgData name="Mascha Theiler" userId="a0f496a5-efc4-4b52-959d-5e95987cae8c" providerId="ADAL" clId="{46BE184E-840E-48D3-B624-C448522A216F}" dt="2026-02-02T13:59:06.898" v="626"/>
          <ac:spMkLst>
            <pc:docMk/>
            <pc:sldMk cId="1744592103" sldId="141169011"/>
            <ac:spMk id="2" creationId="{BF3D0F9A-EF92-E67A-7DE9-06859EB206C7}"/>
          </ac:spMkLst>
        </pc:spChg>
        <pc:spChg chg="mod">
          <ac:chgData name="Mascha Theiler" userId="a0f496a5-efc4-4b52-959d-5e95987cae8c" providerId="ADAL" clId="{46BE184E-840E-48D3-B624-C448522A216F}" dt="2026-02-02T13:59:21.552" v="638" actId="20577"/>
          <ac:spMkLst>
            <pc:docMk/>
            <pc:sldMk cId="1744592103" sldId="141169011"/>
            <ac:spMk id="3" creationId="{FBEC2812-1438-09C8-B7AC-452C8E3708F5}"/>
          </ac:spMkLst>
        </pc:spChg>
        <pc:spChg chg="mod">
          <ac:chgData name="Mascha Theiler" userId="a0f496a5-efc4-4b52-959d-5e95987cae8c" providerId="ADAL" clId="{46BE184E-840E-48D3-B624-C448522A216F}" dt="2026-02-02T13:58:01.692" v="623" actId="20577"/>
          <ac:spMkLst>
            <pc:docMk/>
            <pc:sldMk cId="1744592103" sldId="141169011"/>
            <ac:spMk id="5" creationId="{3E04C794-D213-7E6E-3E65-83C8D4C8722C}"/>
          </ac:spMkLst>
        </pc:spChg>
      </pc:sldChg>
      <pc:sldChg chg="modSp mod">
        <pc:chgData name="Mascha Theiler" userId="a0f496a5-efc4-4b52-959d-5e95987cae8c" providerId="ADAL" clId="{46BE184E-840E-48D3-B624-C448522A216F}" dt="2026-02-02T13:57:47.929" v="604" actId="20577"/>
        <pc:sldMkLst>
          <pc:docMk/>
          <pc:sldMk cId="741183918" sldId="141169012"/>
        </pc:sldMkLst>
        <pc:spChg chg="mod">
          <ac:chgData name="Mascha Theiler" userId="a0f496a5-efc4-4b52-959d-5e95987cae8c" providerId="ADAL" clId="{46BE184E-840E-48D3-B624-C448522A216F}" dt="2026-02-02T13:57:47.929" v="604" actId="20577"/>
          <ac:spMkLst>
            <pc:docMk/>
            <pc:sldMk cId="741183918" sldId="141169012"/>
            <ac:spMk id="2" creationId="{44DDADF5-A384-E805-D55F-2EAF627D0934}"/>
          </ac:spMkLst>
        </pc:spChg>
        <pc:spChg chg="mod">
          <ac:chgData name="Mascha Theiler" userId="a0f496a5-efc4-4b52-959d-5e95987cae8c" providerId="ADAL" clId="{46BE184E-840E-48D3-B624-C448522A216F}" dt="2026-02-02T13:57:38.338" v="578" actId="20577"/>
          <ac:spMkLst>
            <pc:docMk/>
            <pc:sldMk cId="741183918" sldId="141169012"/>
            <ac:spMk id="3" creationId="{6C6A02F9-5689-F798-E8F4-24F2AFE22EAC}"/>
          </ac:spMkLst>
        </pc:spChg>
        <pc:spChg chg="mod">
          <ac:chgData name="Mascha Theiler" userId="a0f496a5-efc4-4b52-959d-5e95987cae8c" providerId="ADAL" clId="{46BE184E-840E-48D3-B624-C448522A216F}" dt="2026-02-02T13:56:36.769" v="559"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2T15:26:44.536" v="1944" actId="20577"/>
        <pc:sldMkLst>
          <pc:docMk/>
          <pc:sldMk cId="3171159530" sldId="141169013"/>
        </pc:sldMkLst>
        <pc:spChg chg="mod">
          <ac:chgData name="Mascha Theiler" userId="a0f496a5-efc4-4b52-959d-5e95987cae8c" providerId="ADAL" clId="{46BE184E-840E-48D3-B624-C448522A216F}" dt="2026-02-02T15:26:44.536" v="1944" actId="20577"/>
          <ac:spMkLst>
            <pc:docMk/>
            <pc:sldMk cId="3171159530" sldId="141169013"/>
            <ac:spMk id="2" creationId="{C3945439-1C16-BCB2-4C79-260618DAD0B2}"/>
          </ac:spMkLst>
        </pc:spChg>
        <pc:spChg chg="mod">
          <ac:chgData name="Mascha Theiler" userId="a0f496a5-efc4-4b52-959d-5e95987cae8c" providerId="ADAL" clId="{46BE184E-840E-48D3-B624-C448522A216F}" dt="2026-02-02T10:53:56.201" v="15" actId="20577"/>
          <ac:spMkLst>
            <pc:docMk/>
            <pc:sldMk cId="3171159530" sldId="141169013"/>
            <ac:spMk id="3" creationId="{C21A7579-B93C-DD18-A750-BECCE46D9BF0}"/>
          </ac:spMkLst>
        </pc:spChg>
        <pc:spChg chg="mod">
          <ac:chgData name="Mascha Theiler" userId="a0f496a5-efc4-4b52-959d-5e95987cae8c" providerId="ADAL" clId="{46BE184E-840E-48D3-B624-C448522A216F}" dt="2026-02-02T10:54:24.812" v="42"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02T13:53:06.382" v="432" actId="20577"/>
        <pc:sldMkLst>
          <pc:docMk/>
          <pc:sldMk cId="1358235853" sldId="141169014"/>
        </pc:sldMkLst>
        <pc:spChg chg="mod">
          <ac:chgData name="Mascha Theiler" userId="a0f496a5-efc4-4b52-959d-5e95987cae8c" providerId="ADAL" clId="{46BE184E-840E-48D3-B624-C448522A216F}" dt="2026-02-02T13:37:49.918" v="320" actId="20577"/>
          <ac:spMkLst>
            <pc:docMk/>
            <pc:sldMk cId="1358235853" sldId="141169014"/>
            <ac:spMk id="2" creationId="{B59007A2-46F9-EA65-CDA8-BBCD7F4BB3E4}"/>
          </ac:spMkLst>
        </pc:spChg>
        <pc:spChg chg="mod">
          <ac:chgData name="Mascha Theiler" userId="a0f496a5-efc4-4b52-959d-5e95987cae8c" providerId="ADAL" clId="{46BE184E-840E-48D3-B624-C448522A216F}" dt="2026-02-02T13:53:06.382" v="432" actId="20577"/>
          <ac:spMkLst>
            <pc:docMk/>
            <pc:sldMk cId="1358235853" sldId="141169014"/>
            <ac:spMk id="3" creationId="{2CBDD328-1C4A-DD6E-8EA3-64F054640B9F}"/>
          </ac:spMkLst>
        </pc:spChg>
        <pc:spChg chg="mod">
          <ac:chgData name="Mascha Theiler" userId="a0f496a5-efc4-4b52-959d-5e95987cae8c" providerId="ADAL" clId="{46BE184E-840E-48D3-B624-C448522A216F}" dt="2026-02-02T12:56:19.559" v="314" actId="20577"/>
          <ac:spMkLst>
            <pc:docMk/>
            <pc:sldMk cId="1358235853" sldId="141169014"/>
            <ac:spMk id="5" creationId="{52AD0755-CDBD-5076-9930-4CBF2FAE3031}"/>
          </ac:spMkLst>
        </pc:spChg>
      </pc:sldChg>
      <pc:sldChg chg="addSp delSp modSp mod">
        <pc:chgData name="Mascha Theiler" userId="a0f496a5-efc4-4b52-959d-5e95987cae8c" providerId="ADAL" clId="{46BE184E-840E-48D3-B624-C448522A216F}" dt="2026-02-02T13:50:58.198" v="343" actId="1076"/>
        <pc:sldMkLst>
          <pc:docMk/>
          <pc:sldMk cId="1155642287" sldId="141169015"/>
        </pc:sldMkLst>
        <pc:spChg chg="mod">
          <ac:chgData name="Mascha Theiler" userId="a0f496a5-efc4-4b52-959d-5e95987cae8c" providerId="ADAL" clId="{46BE184E-840E-48D3-B624-C448522A216F}" dt="2026-02-02T11:00:02.937" v="121"/>
          <ac:spMkLst>
            <pc:docMk/>
            <pc:sldMk cId="1155642287" sldId="141169015"/>
            <ac:spMk id="2" creationId="{5E3A953B-6A93-D5AC-34E4-BCFB6FEF7CA6}"/>
          </ac:spMkLst>
        </pc:spChg>
        <pc:spChg chg="mod">
          <ac:chgData name="Mascha Theiler" userId="a0f496a5-efc4-4b52-959d-5e95987cae8c" providerId="ADAL" clId="{46BE184E-840E-48D3-B624-C448522A216F}" dt="2026-02-02T10:56:36.219" v="60"/>
          <ac:spMkLst>
            <pc:docMk/>
            <pc:sldMk cId="1155642287" sldId="141169015"/>
            <ac:spMk id="5" creationId="{F0E250FD-73CD-1BD1-5815-C525C4B0DDE7}"/>
          </ac:spMkLst>
        </pc:spChg>
        <pc:spChg chg="mod">
          <ac:chgData name="Mascha Theiler" userId="a0f496a5-efc4-4b52-959d-5e95987cae8c" providerId="ADAL" clId="{46BE184E-840E-48D3-B624-C448522A216F}" dt="2026-02-02T13:50:58.198" v="343" actId="1076"/>
          <ac:spMkLst>
            <pc:docMk/>
            <pc:sldMk cId="1155642287" sldId="141169015"/>
            <ac:spMk id="10" creationId="{3AE8E319-1EE1-68F0-CD1F-370C14620E6F}"/>
          </ac:spMkLst>
        </pc:spChg>
        <pc:picChg chg="add mod">
          <ac:chgData name="Mascha Theiler" userId="a0f496a5-efc4-4b52-959d-5e95987cae8c" providerId="ADAL" clId="{46BE184E-840E-48D3-B624-C448522A216F}" dt="2026-02-02T12:06:41.881" v="165" actId="1038"/>
          <ac:picMkLst>
            <pc:docMk/>
            <pc:sldMk cId="1155642287" sldId="141169015"/>
            <ac:picMk id="3" creationId="{91399D2B-9765-D8D7-4ABD-6887080D633F}"/>
          </ac:picMkLst>
        </pc:picChg>
        <pc:picChg chg="add mod">
          <ac:chgData name="Mascha Theiler" userId="a0f496a5-efc4-4b52-959d-5e95987cae8c" providerId="ADAL" clId="{46BE184E-840E-48D3-B624-C448522A216F}" dt="2026-02-02T12:10:18.264" v="215" actId="1037"/>
          <ac:picMkLst>
            <pc:docMk/>
            <pc:sldMk cId="1155642287" sldId="141169015"/>
            <ac:picMk id="6" creationId="{29D063D7-BACE-5F52-3BF0-51432A63C40F}"/>
          </ac:picMkLst>
        </pc:picChg>
        <pc:picChg chg="add mod">
          <ac:chgData name="Mascha Theiler" userId="a0f496a5-efc4-4b52-959d-5e95987cae8c" providerId="ADAL" clId="{46BE184E-840E-48D3-B624-C448522A216F}" dt="2026-02-02T12:10:41.320" v="224" actId="1037"/>
          <ac:picMkLst>
            <pc:docMk/>
            <pc:sldMk cId="1155642287" sldId="141169015"/>
            <ac:picMk id="8" creationId="{7C229D30-D287-D240-E85D-3FB2E8952B0D}"/>
          </ac:picMkLst>
        </pc:picChg>
        <pc:picChg chg="add mod">
          <ac:chgData name="Mascha Theiler" userId="a0f496a5-efc4-4b52-959d-5e95987cae8c" providerId="ADAL" clId="{46BE184E-840E-48D3-B624-C448522A216F}" dt="2026-02-02T12:54:34.523" v="251" actId="1076"/>
          <ac:picMkLst>
            <pc:docMk/>
            <pc:sldMk cId="1155642287" sldId="141169015"/>
            <ac:picMk id="12" creationId="{21180222-E3C7-F29B-043C-D90716E97AF9}"/>
          </ac:picMkLst>
        </pc:picChg>
        <pc:picChg chg="add mod">
          <ac:chgData name="Mascha Theiler" userId="a0f496a5-efc4-4b52-959d-5e95987cae8c" providerId="ADAL" clId="{46BE184E-840E-48D3-B624-C448522A216F}" dt="2026-02-02T12:13:19.111" v="234" actId="1076"/>
          <ac:picMkLst>
            <pc:docMk/>
            <pc:sldMk cId="1155642287" sldId="141169015"/>
            <ac:picMk id="2052" creationId="{34B3300F-38A9-16BA-C760-EAB53A8A425E}"/>
          </ac:picMkLst>
        </pc:picChg>
        <pc:picChg chg="add mod">
          <ac:chgData name="Mascha Theiler" userId="a0f496a5-efc4-4b52-959d-5e95987cae8c" providerId="ADAL" clId="{46BE184E-840E-48D3-B624-C448522A216F}" dt="2026-02-02T12:34:19.843" v="247" actId="1036"/>
          <ac:picMkLst>
            <pc:docMk/>
            <pc:sldMk cId="1155642287" sldId="141169015"/>
            <ac:picMk id="2054" creationId="{A11BADF6-6125-F479-996A-2BC3B030F0D7}"/>
          </ac:picMkLst>
        </pc:picChg>
        <pc:picChg chg="add mod">
          <ac:chgData name="Mascha Theiler" userId="a0f496a5-efc4-4b52-959d-5e95987cae8c" providerId="ADAL" clId="{46BE184E-840E-48D3-B624-C448522A216F}" dt="2026-02-02T12:56:06.585" v="295" actId="1076"/>
          <ac:picMkLst>
            <pc:docMk/>
            <pc:sldMk cId="1155642287" sldId="141169015"/>
            <ac:picMk id="2056" creationId="{7572397C-4136-E52D-6855-F68EC8B98E06}"/>
          </ac:picMkLst>
        </pc:picChg>
      </pc:sldChg>
      <pc:sldChg chg="addSp modSp mod">
        <pc:chgData name="Mascha Theiler" userId="a0f496a5-efc4-4b52-959d-5e95987cae8c" providerId="ADAL" clId="{46BE184E-840E-48D3-B624-C448522A216F}" dt="2026-02-02T14:55:50.429" v="1134" actId="20577"/>
        <pc:sldMkLst>
          <pc:docMk/>
          <pc:sldMk cId="3920161085" sldId="141169016"/>
        </pc:sldMkLst>
        <pc:spChg chg="mod">
          <ac:chgData name="Mascha Theiler" userId="a0f496a5-efc4-4b52-959d-5e95987cae8c" providerId="ADAL" clId="{46BE184E-840E-48D3-B624-C448522A216F}" dt="2026-02-02T14:55:50.429" v="1134" actId="20577"/>
          <ac:spMkLst>
            <pc:docMk/>
            <pc:sldMk cId="3920161085" sldId="141169016"/>
            <ac:spMk id="2" creationId="{70798453-C997-95A2-1CE2-DB06558C9443}"/>
          </ac:spMkLst>
        </pc:spChg>
        <pc:spChg chg="mod">
          <ac:chgData name="Mascha Theiler" userId="a0f496a5-efc4-4b52-959d-5e95987cae8c" providerId="ADAL" clId="{46BE184E-840E-48D3-B624-C448522A216F}" dt="2026-02-02T10:59:38.691" v="120" actId="20577"/>
          <ac:spMkLst>
            <pc:docMk/>
            <pc:sldMk cId="3920161085" sldId="141169016"/>
            <ac:spMk id="3" creationId="{E1134C37-16BD-2DC0-EB07-DC15D0ECA40D}"/>
          </ac:spMkLst>
        </pc:spChg>
        <pc:spChg chg="mod">
          <ac:chgData name="Mascha Theiler" userId="a0f496a5-efc4-4b52-959d-5e95987cae8c" providerId="ADAL" clId="{46BE184E-840E-48D3-B624-C448522A216F}" dt="2026-02-02T10:56:32.392" v="59"/>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02T14:55:53.330" v="1136" actId="20577"/>
        <pc:sldMkLst>
          <pc:docMk/>
          <pc:sldMk cId="263958080" sldId="141169018"/>
        </pc:sldMkLst>
        <pc:spChg chg="mod">
          <ac:chgData name="Mascha Theiler" userId="a0f496a5-efc4-4b52-959d-5e95987cae8c" providerId="ADAL" clId="{46BE184E-840E-48D3-B624-C448522A216F}" dt="2026-02-02T14:55:53.330" v="1136" actId="20577"/>
          <ac:spMkLst>
            <pc:docMk/>
            <pc:sldMk cId="263958080" sldId="141169018"/>
            <ac:spMk id="2" creationId="{1EC2DDDD-ACAF-61EF-B64D-250214EF3B1E}"/>
          </ac:spMkLst>
        </pc:spChg>
        <pc:spChg chg="mod">
          <ac:chgData name="Mascha Theiler" userId="a0f496a5-efc4-4b52-959d-5e95987cae8c" providerId="ADAL" clId="{46BE184E-840E-48D3-B624-C448522A216F}" dt="2026-02-02T10:56:06.126" v="57" actId="20577"/>
          <ac:spMkLst>
            <pc:docMk/>
            <pc:sldMk cId="263958080" sldId="141169018"/>
            <ac:spMk id="3" creationId="{5CF55C2E-5172-48EC-D8E3-6C4AEC2D483E}"/>
          </ac:spMkLst>
        </pc:spChg>
        <pc:spChg chg="mod">
          <ac:chgData name="Mascha Theiler" userId="a0f496a5-efc4-4b52-959d-5e95987cae8c" providerId="ADAL" clId="{46BE184E-840E-48D3-B624-C448522A216F}" dt="2026-02-02T10:56:28.681" v="58"/>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2T15:20:06.788" v="1878" actId="20577"/>
        <pc:sldMkLst>
          <pc:docMk/>
          <pc:sldMk cId="970333773" sldId="141169019"/>
        </pc:sldMkLst>
        <pc:spChg chg="mod">
          <ac:chgData name="Mascha Theiler" userId="a0f496a5-efc4-4b52-959d-5e95987cae8c" providerId="ADAL" clId="{46BE184E-840E-48D3-B624-C448522A216F}" dt="2026-02-02T15:20:01.647" v="1859"/>
          <ac:spMkLst>
            <pc:docMk/>
            <pc:sldMk cId="970333773" sldId="141169019"/>
            <ac:spMk id="2" creationId="{0FD4C692-C4AE-9B18-53A3-7170A9E02079}"/>
          </ac:spMkLst>
        </pc:spChg>
        <pc:spChg chg="mod">
          <ac:chgData name="Mascha Theiler" userId="a0f496a5-efc4-4b52-959d-5e95987cae8c" providerId="ADAL" clId="{46BE184E-840E-48D3-B624-C448522A216F}" dt="2026-02-02T15:20:06.788" v="1878" actId="20577"/>
          <ac:spMkLst>
            <pc:docMk/>
            <pc:sldMk cId="970333773" sldId="141169019"/>
            <ac:spMk id="5" creationId="{42B35813-83D4-01C5-69CD-6825353FCFA1}"/>
          </ac:spMkLst>
        </pc:spChg>
      </pc:sldChg>
      <pc:sldChg chg="modSp mod">
        <pc:chgData name="Mascha Theiler" userId="a0f496a5-efc4-4b52-959d-5e95987cae8c" providerId="ADAL" clId="{46BE184E-840E-48D3-B624-C448522A216F}" dt="2026-02-02T15:13:44.112" v="1705" actId="20577"/>
        <pc:sldMkLst>
          <pc:docMk/>
          <pc:sldMk cId="1136979667" sldId="141169021"/>
        </pc:sldMkLst>
        <pc:spChg chg="mod">
          <ac:chgData name="Mascha Theiler" userId="a0f496a5-efc4-4b52-959d-5e95987cae8c" providerId="ADAL" clId="{46BE184E-840E-48D3-B624-C448522A216F}" dt="2026-02-02T15:08:18.010" v="1461" actId="20577"/>
          <ac:spMkLst>
            <pc:docMk/>
            <pc:sldMk cId="1136979667" sldId="141169021"/>
            <ac:spMk id="2" creationId="{5DAF2DC5-4267-B5F3-A8CC-9910B07346A1}"/>
          </ac:spMkLst>
        </pc:spChg>
        <pc:spChg chg="mod">
          <ac:chgData name="Mascha Theiler" userId="a0f496a5-efc4-4b52-959d-5e95987cae8c" providerId="ADAL" clId="{46BE184E-840E-48D3-B624-C448522A216F}" dt="2026-02-02T15:13:44.112" v="1705" actId="20577"/>
          <ac:spMkLst>
            <pc:docMk/>
            <pc:sldMk cId="1136979667" sldId="141169021"/>
            <ac:spMk id="3" creationId="{3B0A6205-ED0D-EDD0-D590-2D19B604116A}"/>
          </ac:spMkLst>
        </pc:spChg>
        <pc:spChg chg="mod">
          <ac:chgData name="Mascha Theiler" userId="a0f496a5-efc4-4b52-959d-5e95987cae8c" providerId="ADAL" clId="{46BE184E-840E-48D3-B624-C448522A216F}" dt="2026-02-02T15:07:44.278" v="1444" actId="20577"/>
          <ac:spMkLst>
            <pc:docMk/>
            <pc:sldMk cId="1136979667" sldId="141169021"/>
            <ac:spMk id="5" creationId="{362BF44D-BEAB-98ED-230B-916576AA9E8C}"/>
          </ac:spMkLst>
        </pc:spChg>
      </pc:sldChg>
      <pc:sldChg chg="modSp mod">
        <pc:chgData name="Mascha Theiler" userId="a0f496a5-efc4-4b52-959d-5e95987cae8c" providerId="ADAL" clId="{46BE184E-840E-48D3-B624-C448522A216F}" dt="2026-02-02T15:09:55.129" v="1609" actId="20577"/>
        <pc:sldMkLst>
          <pc:docMk/>
          <pc:sldMk cId="2673969776" sldId="141169022"/>
        </pc:sldMkLst>
        <pc:spChg chg="mod">
          <ac:chgData name="Mascha Theiler" userId="a0f496a5-efc4-4b52-959d-5e95987cae8c" providerId="ADAL" clId="{46BE184E-840E-48D3-B624-C448522A216F}" dt="2026-02-02T15:08:05.162" v="1448" actId="113"/>
          <ac:spMkLst>
            <pc:docMk/>
            <pc:sldMk cId="2673969776" sldId="141169022"/>
            <ac:spMk id="2" creationId="{A5272103-8F0A-7875-DD01-0E3AAB35E3CC}"/>
          </ac:spMkLst>
        </pc:spChg>
        <pc:spChg chg="mod">
          <ac:chgData name="Mascha Theiler" userId="a0f496a5-efc4-4b52-959d-5e95987cae8c" providerId="ADAL" clId="{46BE184E-840E-48D3-B624-C448522A216F}" dt="2026-02-02T15:09:55.129" v="1609" actId="20577"/>
          <ac:spMkLst>
            <pc:docMk/>
            <pc:sldMk cId="2673969776" sldId="141169022"/>
            <ac:spMk id="3" creationId="{E673B28F-08BC-0C7B-FB67-F391B1BE9CF5}"/>
          </ac:spMkLst>
        </pc:spChg>
        <pc:spChg chg="mod">
          <ac:chgData name="Mascha Theiler" userId="a0f496a5-efc4-4b52-959d-5e95987cae8c" providerId="ADAL" clId="{46BE184E-840E-48D3-B624-C448522A216F}" dt="2026-02-02T15:07:29.494" v="1423" actId="20577"/>
          <ac:spMkLst>
            <pc:docMk/>
            <pc:sldMk cId="2673969776" sldId="141169022"/>
            <ac:spMk id="5" creationId="{3216E489-EDBD-DF1A-2AF8-7716105C6A15}"/>
          </ac:spMkLst>
        </pc:spChg>
      </pc:sldChg>
      <pc:sldChg chg="modSp mod">
        <pc:chgData name="Mascha Theiler" userId="a0f496a5-efc4-4b52-959d-5e95987cae8c" providerId="ADAL" clId="{46BE184E-840E-48D3-B624-C448522A216F}" dt="2026-02-02T15:00:39.987" v="1287" actId="20577"/>
        <pc:sldMkLst>
          <pc:docMk/>
          <pc:sldMk cId="1607830676" sldId="141169024"/>
        </pc:sldMkLst>
        <pc:spChg chg="mod">
          <ac:chgData name="Mascha Theiler" userId="a0f496a5-efc4-4b52-959d-5e95987cae8c" providerId="ADAL" clId="{46BE184E-840E-48D3-B624-C448522A216F}" dt="2026-02-02T14:55:21.545" v="1130"/>
          <ac:spMkLst>
            <pc:docMk/>
            <pc:sldMk cId="1607830676" sldId="141169024"/>
            <ac:spMk id="2" creationId="{9C19DD95-1037-8915-49C6-A6C150FE2AFD}"/>
          </ac:spMkLst>
        </pc:spChg>
        <pc:spChg chg="mod">
          <ac:chgData name="Mascha Theiler" userId="a0f496a5-efc4-4b52-959d-5e95987cae8c" providerId="ADAL" clId="{46BE184E-840E-48D3-B624-C448522A216F}" dt="2026-02-02T15:00:39.987" v="1287" actId="20577"/>
          <ac:spMkLst>
            <pc:docMk/>
            <pc:sldMk cId="1607830676" sldId="141169024"/>
            <ac:spMk id="3" creationId="{A570AF8C-4C13-9B5C-1AF8-983FF4694F0A}"/>
          </ac:spMkLst>
        </pc:spChg>
        <pc:spChg chg="mod">
          <ac:chgData name="Mascha Theiler" userId="a0f496a5-efc4-4b52-959d-5e95987cae8c" providerId="ADAL" clId="{46BE184E-840E-48D3-B624-C448522A216F}" dt="2026-02-02T14:57:08.610" v="1162" actId="20577"/>
          <ac:spMkLst>
            <pc:docMk/>
            <pc:sldMk cId="1607830676" sldId="141169024"/>
            <ac:spMk id="5" creationId="{AA4EC1D8-B4BC-DBEF-D00D-5540E6140B29}"/>
          </ac:spMkLst>
        </pc:spChg>
      </pc:sldChg>
      <pc:sldChg chg="modSp mod">
        <pc:chgData name="Mascha Theiler" userId="a0f496a5-efc4-4b52-959d-5e95987cae8c" providerId="ADAL" clId="{46BE184E-840E-48D3-B624-C448522A216F}" dt="2026-02-02T14:54:22.366" v="1086" actId="20577"/>
        <pc:sldMkLst>
          <pc:docMk/>
          <pc:sldMk cId="790320001" sldId="141169025"/>
        </pc:sldMkLst>
        <pc:spChg chg="mod">
          <ac:chgData name="Mascha Theiler" userId="a0f496a5-efc4-4b52-959d-5e95987cae8c" providerId="ADAL" clId="{46BE184E-840E-48D3-B624-C448522A216F}" dt="2026-02-02T14:53:08.924" v="1036" actId="20577"/>
          <ac:spMkLst>
            <pc:docMk/>
            <pc:sldMk cId="790320001" sldId="141169025"/>
            <ac:spMk id="2" creationId="{72431E75-8243-ACCF-60B3-EFA2690DED92}"/>
          </ac:spMkLst>
        </pc:spChg>
        <pc:spChg chg="mod">
          <ac:chgData name="Mascha Theiler" userId="a0f496a5-efc4-4b52-959d-5e95987cae8c" providerId="ADAL" clId="{46BE184E-840E-48D3-B624-C448522A216F}" dt="2026-02-02T14:54:22.366" v="1086" actId="20577"/>
          <ac:spMkLst>
            <pc:docMk/>
            <pc:sldMk cId="790320001" sldId="141169025"/>
            <ac:spMk id="3" creationId="{74030D23-D6BA-C329-0F31-2E0A19A928AF}"/>
          </ac:spMkLst>
        </pc:spChg>
        <pc:spChg chg="mod">
          <ac:chgData name="Mascha Theiler" userId="a0f496a5-efc4-4b52-959d-5e95987cae8c" providerId="ADAL" clId="{46BE184E-840E-48D3-B624-C448522A216F}" dt="2026-02-02T14:52:13.469" v="1002" actId="20577"/>
          <ac:spMkLst>
            <pc:docMk/>
            <pc:sldMk cId="790320001" sldId="141169025"/>
            <ac:spMk id="5" creationId="{AD0B8DF0-6601-F88B-C61C-CA80C8B2A7E1}"/>
          </ac:spMkLst>
        </pc:spChg>
      </pc:sldChg>
      <pc:sldChg chg="modSp mod">
        <pc:chgData name="Mascha Theiler" userId="a0f496a5-efc4-4b52-959d-5e95987cae8c" providerId="ADAL" clId="{46BE184E-840E-48D3-B624-C448522A216F}" dt="2026-02-02T14:58:46.022" v="1231" actId="20577"/>
        <pc:sldMkLst>
          <pc:docMk/>
          <pc:sldMk cId="1641864606" sldId="141169042"/>
        </pc:sldMkLst>
        <pc:spChg chg="mod">
          <ac:chgData name="Mascha Theiler" userId="a0f496a5-efc4-4b52-959d-5e95987cae8c" providerId="ADAL" clId="{46BE184E-840E-48D3-B624-C448522A216F}" dt="2026-02-02T14:58:44.598" v="1230" actId="20577"/>
          <ac:spMkLst>
            <pc:docMk/>
            <pc:sldMk cId="1641864606" sldId="141169042"/>
            <ac:spMk id="2" creationId="{58F7C146-CAE7-9658-7142-861EF5F7D40A}"/>
          </ac:spMkLst>
        </pc:spChg>
        <pc:spChg chg="mod">
          <ac:chgData name="Mascha Theiler" userId="a0f496a5-efc4-4b52-959d-5e95987cae8c" providerId="ADAL" clId="{46BE184E-840E-48D3-B624-C448522A216F}" dt="2026-02-02T13:55:19.067" v="517"/>
          <ac:spMkLst>
            <pc:docMk/>
            <pc:sldMk cId="1641864606" sldId="141169042"/>
            <ac:spMk id="5" creationId="{32D8A27E-7B95-E161-6AC5-4FC83318C1E2}"/>
          </ac:spMkLst>
        </pc:spChg>
        <pc:spChg chg="mod">
          <ac:chgData name="Mascha Theiler" userId="a0f496a5-efc4-4b52-959d-5e95987cae8c" providerId="ADAL" clId="{46BE184E-840E-48D3-B624-C448522A216F}" dt="2026-02-02T14:58:46.022" v="1231" actId="20577"/>
          <ac:spMkLst>
            <pc:docMk/>
            <pc:sldMk cId="1641864606" sldId="141169042"/>
            <ac:spMk id="6" creationId="{5F007EAF-6FB2-C6AF-9817-B4B2056C5C97}"/>
          </ac:spMkLst>
        </pc:spChg>
      </pc:sldChg>
      <pc:sldChg chg="modSp mod">
        <pc:chgData name="Mascha Theiler" userId="a0f496a5-efc4-4b52-959d-5e95987cae8c" providerId="ADAL" clId="{46BE184E-840E-48D3-B624-C448522A216F}" dt="2026-02-02T13:56:59.285" v="560"/>
        <pc:sldMkLst>
          <pc:docMk/>
          <pc:sldMk cId="1647346089" sldId="141169043"/>
        </pc:sldMkLst>
        <pc:spChg chg="mod">
          <ac:chgData name="Mascha Theiler" userId="a0f496a5-efc4-4b52-959d-5e95987cae8c" providerId="ADAL" clId="{46BE184E-840E-48D3-B624-C448522A216F}" dt="2026-02-02T13:56:59.285" v="560"/>
          <ac:spMkLst>
            <pc:docMk/>
            <pc:sldMk cId="1647346089" sldId="141169043"/>
            <ac:spMk id="2" creationId="{C7CC728D-778A-119E-F5BC-B2BFC04A352F}"/>
          </ac:spMkLst>
        </pc:spChg>
        <pc:spChg chg="mod">
          <ac:chgData name="Mascha Theiler" userId="a0f496a5-efc4-4b52-959d-5e95987cae8c" providerId="ADAL" clId="{46BE184E-840E-48D3-B624-C448522A216F}" dt="2026-02-02T13:56:21.181" v="521" actId="113"/>
          <ac:spMkLst>
            <pc:docMk/>
            <pc:sldMk cId="1647346089" sldId="141169043"/>
            <ac:spMk id="3" creationId="{62F2AC87-3FC1-3E96-2509-CB6708476BB0}"/>
          </ac:spMkLst>
        </pc:spChg>
        <pc:spChg chg="mod">
          <ac:chgData name="Mascha Theiler" userId="a0f496a5-efc4-4b52-959d-5e95987cae8c" providerId="ADAL" clId="{46BE184E-840E-48D3-B624-C448522A216F}" dt="2026-02-02T13:56:27.678" v="540" actId="20577"/>
          <ac:spMkLst>
            <pc:docMk/>
            <pc:sldMk cId="1647346089" sldId="141169043"/>
            <ac:spMk id="5" creationId="{DDC25C0B-9C28-1361-4D74-B1F9D409BBD3}"/>
          </ac:spMkLst>
        </pc:spChg>
      </pc:sldChg>
      <pc:sldChg chg="modSp mod">
        <pc:chgData name="Mascha Theiler" userId="a0f496a5-efc4-4b52-959d-5e95987cae8c" providerId="ADAL" clId="{46BE184E-840E-48D3-B624-C448522A216F}" dt="2026-02-02T14:39:26.654" v="866"/>
        <pc:sldMkLst>
          <pc:docMk/>
          <pc:sldMk cId="934713867" sldId="141169044"/>
        </pc:sldMkLst>
        <pc:spChg chg="mod">
          <ac:chgData name="Mascha Theiler" userId="a0f496a5-efc4-4b52-959d-5e95987cae8c" providerId="ADAL" clId="{46BE184E-840E-48D3-B624-C448522A216F}" dt="2026-02-02T14:36:38.241" v="747" actId="20577"/>
          <ac:spMkLst>
            <pc:docMk/>
            <pc:sldMk cId="934713867" sldId="141169044"/>
            <ac:spMk id="2" creationId="{DC8AF0CB-DE6C-9276-7187-3971B535211A}"/>
          </ac:spMkLst>
        </pc:spChg>
        <pc:spChg chg="mod">
          <ac:chgData name="Mascha Theiler" userId="a0f496a5-efc4-4b52-959d-5e95987cae8c" providerId="ADAL" clId="{46BE184E-840E-48D3-B624-C448522A216F}" dt="2026-02-02T14:39:26.654" v="866"/>
          <ac:spMkLst>
            <pc:docMk/>
            <pc:sldMk cId="934713867" sldId="141169044"/>
            <ac:spMk id="5" creationId="{B16B1956-B58F-7F19-DDB9-F48638BD19A5}"/>
          </ac:spMkLst>
        </pc:spChg>
        <pc:spChg chg="mod">
          <ac:chgData name="Mascha Theiler" userId="a0f496a5-efc4-4b52-959d-5e95987cae8c" providerId="ADAL" clId="{46BE184E-840E-48D3-B624-C448522A216F}" dt="2026-02-02T14:36:21.071" v="729" actId="20577"/>
          <ac:spMkLst>
            <pc:docMk/>
            <pc:sldMk cId="934713867" sldId="141169044"/>
            <ac:spMk id="6" creationId="{C5B26FCE-0322-39A0-1201-50128670B47E}"/>
          </ac:spMkLst>
        </pc:spChg>
        <pc:spChg chg="mod">
          <ac:chgData name="Mascha Theiler" userId="a0f496a5-efc4-4b52-959d-5e95987cae8c" providerId="ADAL" clId="{46BE184E-840E-48D3-B624-C448522A216F}" dt="2026-02-02T14:37:34.336" v="827" actId="20577"/>
          <ac:spMkLst>
            <pc:docMk/>
            <pc:sldMk cId="934713867" sldId="141169044"/>
            <ac:spMk id="8" creationId="{BB12EB35-5C58-7B54-58E9-FC19E83D690C}"/>
          </ac:spMkLst>
        </pc:spChg>
      </pc:sldChg>
      <pc:sldChg chg="modSp mod">
        <pc:chgData name="Mascha Theiler" userId="a0f496a5-efc4-4b52-959d-5e95987cae8c" providerId="ADAL" clId="{46BE184E-840E-48D3-B624-C448522A216F}" dt="2026-02-02T14:58:52.882" v="1233" actId="20577"/>
        <pc:sldMkLst>
          <pc:docMk/>
          <pc:sldMk cId="1564508602" sldId="141169045"/>
        </pc:sldMkLst>
        <pc:spChg chg="mod">
          <ac:chgData name="Mascha Theiler" userId="a0f496a5-efc4-4b52-959d-5e95987cae8c" providerId="ADAL" clId="{46BE184E-840E-48D3-B624-C448522A216F}" dt="2026-02-02T14:58:52.882" v="1233" actId="20577"/>
          <ac:spMkLst>
            <pc:docMk/>
            <pc:sldMk cId="1564508602" sldId="141169045"/>
            <ac:spMk id="2" creationId="{A6FEDBF5-4F06-0041-3DFC-32BAD0E42791}"/>
          </ac:spMkLst>
        </pc:spChg>
        <pc:spChg chg="mod">
          <ac:chgData name="Mascha Theiler" userId="a0f496a5-efc4-4b52-959d-5e95987cae8c" providerId="ADAL" clId="{46BE184E-840E-48D3-B624-C448522A216F}" dt="2026-02-02T14:39:49.932" v="867"/>
          <ac:spMkLst>
            <pc:docMk/>
            <pc:sldMk cId="1564508602" sldId="141169045"/>
            <ac:spMk id="5" creationId="{C93DEB2B-4D1E-23F9-8451-95DBE326F0B3}"/>
          </ac:spMkLst>
        </pc:spChg>
        <pc:spChg chg="mod">
          <ac:chgData name="Mascha Theiler" userId="a0f496a5-efc4-4b52-959d-5e95987cae8c" providerId="ADAL" clId="{46BE184E-840E-48D3-B624-C448522A216F}" dt="2026-02-02T14:58:51.685" v="1232" actId="20577"/>
          <ac:spMkLst>
            <pc:docMk/>
            <pc:sldMk cId="1564508602" sldId="141169045"/>
            <ac:spMk id="6" creationId="{2AF84DF6-17EE-D154-72CA-BBE20D2C6076}"/>
          </ac:spMkLst>
        </pc:spChg>
        <pc:spChg chg="mod">
          <ac:chgData name="Mascha Theiler" userId="a0f496a5-efc4-4b52-959d-5e95987cae8c" providerId="ADAL" clId="{46BE184E-840E-48D3-B624-C448522A216F}" dt="2026-02-02T14:37:19.727" v="786" actId="20577"/>
          <ac:spMkLst>
            <pc:docMk/>
            <pc:sldMk cId="1564508602" sldId="141169045"/>
            <ac:spMk id="8" creationId="{3359EE6A-373A-7DF1-5502-7C9DDECA7345}"/>
          </ac:spMkLst>
        </pc:spChg>
      </pc:sldChg>
      <pc:sldChg chg="modSp mod">
        <pc:chgData name="Mascha Theiler" userId="a0f496a5-efc4-4b52-959d-5e95987cae8c" providerId="ADAL" clId="{46BE184E-840E-48D3-B624-C448522A216F}" dt="2026-02-02T14:41:10.842" v="907" actId="113"/>
        <pc:sldMkLst>
          <pc:docMk/>
          <pc:sldMk cId="2073815741" sldId="141169046"/>
        </pc:sldMkLst>
        <pc:spChg chg="mod">
          <ac:chgData name="Mascha Theiler" userId="a0f496a5-efc4-4b52-959d-5e95987cae8c" providerId="ADAL" clId="{46BE184E-840E-48D3-B624-C448522A216F}" dt="2026-02-02T14:41:10.842" v="907" actId="113"/>
          <ac:spMkLst>
            <pc:docMk/>
            <pc:sldMk cId="2073815741" sldId="141169046"/>
            <ac:spMk id="2" creationId="{89D929DF-F63F-F0C3-0FD8-2CA22E154BAE}"/>
          </ac:spMkLst>
        </pc:spChg>
        <pc:spChg chg="mod">
          <ac:chgData name="Mascha Theiler" userId="a0f496a5-efc4-4b52-959d-5e95987cae8c" providerId="ADAL" clId="{46BE184E-840E-48D3-B624-C448522A216F}" dt="2026-02-02T14:40:21.314" v="871" actId="113"/>
          <ac:spMkLst>
            <pc:docMk/>
            <pc:sldMk cId="2073815741" sldId="141169046"/>
            <ac:spMk id="3" creationId="{D1305009-2128-615D-7DC1-F69780E380C5}"/>
          </ac:spMkLst>
        </pc:spChg>
        <pc:spChg chg="mod">
          <ac:chgData name="Mascha Theiler" userId="a0f496a5-efc4-4b52-959d-5e95987cae8c" providerId="ADAL" clId="{46BE184E-840E-48D3-B624-C448522A216F}" dt="2026-02-02T14:41:06.853" v="906" actId="20577"/>
          <ac:spMkLst>
            <pc:docMk/>
            <pc:sldMk cId="2073815741" sldId="141169046"/>
            <ac:spMk id="5" creationId="{1F39F3FE-A63E-EFF9-5D5C-4E9B4D3BBF9C}"/>
          </ac:spMkLst>
        </pc:spChg>
      </pc:sldChg>
      <pc:sldChg chg="modSp mod">
        <pc:chgData name="Mascha Theiler" userId="a0f496a5-efc4-4b52-959d-5e95987cae8c" providerId="ADAL" clId="{46BE184E-840E-48D3-B624-C448522A216F}" dt="2026-02-02T14:42:23.445" v="936" actId="20577"/>
        <pc:sldMkLst>
          <pc:docMk/>
          <pc:sldMk cId="2503738557" sldId="141169047"/>
        </pc:sldMkLst>
        <pc:spChg chg="mod">
          <ac:chgData name="Mascha Theiler" userId="a0f496a5-efc4-4b52-959d-5e95987cae8c" providerId="ADAL" clId="{46BE184E-840E-48D3-B624-C448522A216F}" dt="2026-02-02T14:41:30.105" v="928" actId="20577"/>
          <ac:spMkLst>
            <pc:docMk/>
            <pc:sldMk cId="2503738557" sldId="141169047"/>
            <ac:spMk id="2" creationId="{1BB60BA8-BF59-114A-76A0-678EC4A85B2A}"/>
          </ac:spMkLst>
        </pc:spChg>
        <pc:spChg chg="mod">
          <ac:chgData name="Mascha Theiler" userId="a0f496a5-efc4-4b52-959d-5e95987cae8c" providerId="ADAL" clId="{46BE184E-840E-48D3-B624-C448522A216F}" dt="2026-02-02T14:42:23.445" v="936" actId="20577"/>
          <ac:spMkLst>
            <pc:docMk/>
            <pc:sldMk cId="2503738557" sldId="141169047"/>
            <ac:spMk id="3" creationId="{46896C28-7E74-917C-CD25-AF456CA4CE29}"/>
          </ac:spMkLst>
        </pc:spChg>
        <pc:spChg chg="mod">
          <ac:chgData name="Mascha Theiler" userId="a0f496a5-efc4-4b52-959d-5e95987cae8c" providerId="ADAL" clId="{46BE184E-840E-48D3-B624-C448522A216F}" dt="2026-02-02T14:41:21.689" v="926" actId="20577"/>
          <ac:spMkLst>
            <pc:docMk/>
            <pc:sldMk cId="2503738557" sldId="141169047"/>
            <ac:spMk id="5" creationId="{8F1B4D4C-56A2-DA48-F165-4E94501052EF}"/>
          </ac:spMkLst>
        </pc:spChg>
      </pc:sldChg>
      <pc:sldChg chg="modSp mod">
        <pc:chgData name="Mascha Theiler" userId="a0f496a5-efc4-4b52-959d-5e95987cae8c" providerId="ADAL" clId="{46BE184E-840E-48D3-B624-C448522A216F}" dt="2026-02-02T14:58:15.063" v="1215" actId="20577"/>
        <pc:sldMkLst>
          <pc:docMk/>
          <pc:sldMk cId="1282385854" sldId="141169048"/>
        </pc:sldMkLst>
        <pc:spChg chg="mod">
          <ac:chgData name="Mascha Theiler" userId="a0f496a5-efc4-4b52-959d-5e95987cae8c" providerId="ADAL" clId="{46BE184E-840E-48D3-B624-C448522A216F}" dt="2026-02-02T14:58:15.063" v="1215" actId="20577"/>
          <ac:spMkLst>
            <pc:docMk/>
            <pc:sldMk cId="1282385854" sldId="141169048"/>
            <ac:spMk id="2" creationId="{DFB1A7FF-72D9-84DF-E4FB-945702097B22}"/>
          </ac:spMkLst>
        </pc:spChg>
        <pc:spChg chg="mod">
          <ac:chgData name="Mascha Theiler" userId="a0f496a5-efc4-4b52-959d-5e95987cae8c" providerId="ADAL" clId="{46BE184E-840E-48D3-B624-C448522A216F}" dt="2026-02-02T14:57:52.330" v="1184"/>
          <ac:spMkLst>
            <pc:docMk/>
            <pc:sldMk cId="1282385854" sldId="141169048"/>
            <ac:spMk id="5" creationId="{8C56B828-D931-E430-E054-316ABA9AF146}"/>
          </ac:spMkLst>
        </pc:spChg>
        <pc:spChg chg="mod">
          <ac:chgData name="Mascha Theiler" userId="a0f496a5-efc4-4b52-959d-5e95987cae8c" providerId="ADAL" clId="{46BE184E-840E-48D3-B624-C448522A216F}" dt="2026-02-02T14:57:29.393" v="1173" actId="20577"/>
          <ac:spMkLst>
            <pc:docMk/>
            <pc:sldMk cId="1282385854" sldId="141169048"/>
            <ac:spMk id="6" creationId="{96AA1E24-0851-9C36-48EF-CA92744A2472}"/>
          </ac:spMkLst>
        </pc:spChg>
        <pc:spChg chg="mod">
          <ac:chgData name="Mascha Theiler" userId="a0f496a5-efc4-4b52-959d-5e95987cae8c" providerId="ADAL" clId="{46BE184E-840E-48D3-B624-C448522A216F}" dt="2026-02-02T14:58:01.618" v="1213" actId="20577"/>
          <ac:spMkLst>
            <pc:docMk/>
            <pc:sldMk cId="1282385854" sldId="141169048"/>
            <ac:spMk id="8" creationId="{2B440AE4-E8AA-9D6C-7243-74EBFF2757F7}"/>
          </ac:spMkLst>
        </pc:spChg>
      </pc:sldChg>
      <pc:sldChg chg="modSp mod">
        <pc:chgData name="Mascha Theiler" userId="a0f496a5-efc4-4b52-959d-5e95987cae8c" providerId="ADAL" clId="{46BE184E-840E-48D3-B624-C448522A216F}" dt="2026-02-02T14:59:29.587" v="1255" actId="12"/>
        <pc:sldMkLst>
          <pc:docMk/>
          <pc:sldMk cId="4028541894" sldId="141169049"/>
        </pc:sldMkLst>
        <pc:spChg chg="mod">
          <ac:chgData name="Mascha Theiler" userId="a0f496a5-efc4-4b52-959d-5e95987cae8c" providerId="ADAL" clId="{46BE184E-840E-48D3-B624-C448522A216F}" dt="2026-02-02T14:58:23.765" v="1226" actId="20577"/>
          <ac:spMkLst>
            <pc:docMk/>
            <pc:sldMk cId="4028541894" sldId="141169049"/>
            <ac:spMk id="2" creationId="{65D62F23-AB71-4694-19FB-27C0A39B2CD5}"/>
          </ac:spMkLst>
        </pc:spChg>
        <pc:spChg chg="mod">
          <ac:chgData name="Mascha Theiler" userId="a0f496a5-efc4-4b52-959d-5e95987cae8c" providerId="ADAL" clId="{46BE184E-840E-48D3-B624-C448522A216F}" dt="2026-02-02T14:59:29.587" v="1255" actId="12"/>
          <ac:spMkLst>
            <pc:docMk/>
            <pc:sldMk cId="4028541894" sldId="141169049"/>
            <ac:spMk id="5" creationId="{AACFD87F-D54D-3AB2-F086-94AC1A6C99AE}"/>
          </ac:spMkLst>
        </pc:spChg>
        <pc:spChg chg="mod">
          <ac:chgData name="Mascha Theiler" userId="a0f496a5-efc4-4b52-959d-5e95987cae8c" providerId="ADAL" clId="{46BE184E-840E-48D3-B624-C448522A216F}" dt="2026-02-02T14:58:34.147" v="1229" actId="20577"/>
          <ac:spMkLst>
            <pc:docMk/>
            <pc:sldMk cId="4028541894" sldId="141169049"/>
            <ac:spMk id="6" creationId="{9C76FCDF-0C11-FC27-2F04-22547061B8FF}"/>
          </ac:spMkLst>
        </pc:spChg>
        <pc:spChg chg="mod">
          <ac:chgData name="Mascha Theiler" userId="a0f496a5-efc4-4b52-959d-5e95987cae8c" providerId="ADAL" clId="{46BE184E-840E-48D3-B624-C448522A216F}" dt="2026-02-02T14:59:06.066" v="1252" actId="20577"/>
          <ac:spMkLst>
            <pc:docMk/>
            <pc:sldMk cId="4028541894" sldId="141169049"/>
            <ac:spMk id="8" creationId="{D41AE291-F808-BD4B-7366-D4CC0856ADDA}"/>
          </ac:spMkLst>
        </pc:spChg>
      </pc:sldChg>
      <pc:sldChg chg="modSp mod">
        <pc:chgData name="Mascha Theiler" userId="a0f496a5-efc4-4b52-959d-5e95987cae8c" providerId="ADAL" clId="{46BE184E-840E-48D3-B624-C448522A216F}" dt="2026-02-02T15:03:46.374" v="1386" actId="20577"/>
        <pc:sldMkLst>
          <pc:docMk/>
          <pc:sldMk cId="481511366" sldId="141169050"/>
        </pc:sldMkLst>
        <pc:spChg chg="mod">
          <ac:chgData name="Mascha Theiler" userId="a0f496a5-efc4-4b52-959d-5e95987cae8c" providerId="ADAL" clId="{46BE184E-840E-48D3-B624-C448522A216F}" dt="2026-02-02T15:03:01.784" v="1322"/>
          <ac:spMkLst>
            <pc:docMk/>
            <pc:sldMk cId="481511366" sldId="141169050"/>
            <ac:spMk id="2" creationId="{6FB78DC0-FDEA-8D90-E3F2-83849794B60D}"/>
          </ac:spMkLst>
        </pc:spChg>
        <pc:spChg chg="mod">
          <ac:chgData name="Mascha Theiler" userId="a0f496a5-efc4-4b52-959d-5e95987cae8c" providerId="ADAL" clId="{46BE184E-840E-48D3-B624-C448522A216F}" dt="2026-02-02T15:03:46.374" v="1386" actId="20577"/>
          <ac:spMkLst>
            <pc:docMk/>
            <pc:sldMk cId="481511366" sldId="141169050"/>
            <ac:spMk id="3" creationId="{FB28E3EB-655A-8ADC-A6DA-216CA54A15FF}"/>
          </ac:spMkLst>
        </pc:spChg>
        <pc:spChg chg="mod">
          <ac:chgData name="Mascha Theiler" userId="a0f496a5-efc4-4b52-959d-5e95987cae8c" providerId="ADAL" clId="{46BE184E-840E-48D3-B624-C448522A216F}" dt="2026-02-02T15:01:08.643" v="1306" actId="20577"/>
          <ac:spMkLst>
            <pc:docMk/>
            <pc:sldMk cId="481511366" sldId="141169050"/>
            <ac:spMk id="5" creationId="{FCAB67A2-3172-5C85-A56A-168C244AE726}"/>
          </ac:spMkLst>
        </pc:spChg>
      </pc:sldChg>
      <pc:sldChg chg="modSp mod">
        <pc:chgData name="Mascha Theiler" userId="a0f496a5-efc4-4b52-959d-5e95987cae8c" providerId="ADAL" clId="{46BE184E-840E-48D3-B624-C448522A216F}" dt="2026-02-02T15:04:34.451" v="1392" actId="20577"/>
        <pc:sldMkLst>
          <pc:docMk/>
          <pc:sldMk cId="1433397061" sldId="141169051"/>
        </pc:sldMkLst>
        <pc:spChg chg="mod">
          <ac:chgData name="Mascha Theiler" userId="a0f496a5-efc4-4b52-959d-5e95987cae8c" providerId="ADAL" clId="{46BE184E-840E-48D3-B624-C448522A216F}" dt="2026-02-02T15:03:04.755" v="1323"/>
          <ac:spMkLst>
            <pc:docMk/>
            <pc:sldMk cId="1433397061" sldId="141169051"/>
            <ac:spMk id="2" creationId="{96625F1D-CFD3-7855-E292-21495CBBF8D8}"/>
          </ac:spMkLst>
        </pc:spChg>
        <pc:spChg chg="mod">
          <ac:chgData name="Mascha Theiler" userId="a0f496a5-efc4-4b52-959d-5e95987cae8c" providerId="ADAL" clId="{46BE184E-840E-48D3-B624-C448522A216F}" dt="2026-02-02T15:04:34.451" v="1392" actId="20577"/>
          <ac:spMkLst>
            <pc:docMk/>
            <pc:sldMk cId="1433397061" sldId="141169051"/>
            <ac:spMk id="3" creationId="{3A776601-1833-1D88-B292-E78859C1B1A5}"/>
          </ac:spMkLst>
        </pc:spChg>
        <pc:spChg chg="mod">
          <ac:chgData name="Mascha Theiler" userId="a0f496a5-efc4-4b52-959d-5e95987cae8c" providerId="ADAL" clId="{46BE184E-840E-48D3-B624-C448522A216F}" dt="2026-02-02T15:03:35.970" v="1385" actId="1035"/>
          <ac:spMkLst>
            <pc:docMk/>
            <pc:sldMk cId="1433397061" sldId="141169051"/>
            <ac:spMk id="5" creationId="{950083E9-CBB7-3D63-AA93-282FAA732634}"/>
          </ac:spMkLst>
        </pc:spChg>
      </pc:sldChg>
      <pc:sldChg chg="modSp mod">
        <pc:chgData name="Mascha Theiler" userId="a0f496a5-efc4-4b52-959d-5e95987cae8c" providerId="ADAL" clId="{46BE184E-840E-48D3-B624-C448522A216F}" dt="2026-02-02T15:05:46.905" v="1397" actId="20577"/>
        <pc:sldMkLst>
          <pc:docMk/>
          <pc:sldMk cId="2601102866" sldId="141169052"/>
        </pc:sldMkLst>
        <pc:spChg chg="mod">
          <ac:chgData name="Mascha Theiler" userId="a0f496a5-efc4-4b52-959d-5e95987cae8c" providerId="ADAL" clId="{46BE184E-840E-48D3-B624-C448522A216F}" dt="2026-02-02T15:03:09.192" v="1324"/>
          <ac:spMkLst>
            <pc:docMk/>
            <pc:sldMk cId="2601102866" sldId="141169052"/>
            <ac:spMk id="2" creationId="{BB244D15-3AB9-61BA-4B23-C264604229DD}"/>
          </ac:spMkLst>
        </pc:spChg>
        <pc:spChg chg="mod">
          <ac:chgData name="Mascha Theiler" userId="a0f496a5-efc4-4b52-959d-5e95987cae8c" providerId="ADAL" clId="{46BE184E-840E-48D3-B624-C448522A216F}" dt="2026-02-02T15:05:46.905" v="1397" actId="20577"/>
          <ac:spMkLst>
            <pc:docMk/>
            <pc:sldMk cId="2601102866" sldId="141169052"/>
            <ac:spMk id="3" creationId="{C28D0859-81E5-29F2-93FC-256729A166CB}"/>
          </ac:spMkLst>
        </pc:spChg>
        <pc:spChg chg="mod">
          <ac:chgData name="Mascha Theiler" userId="a0f496a5-efc4-4b52-959d-5e95987cae8c" providerId="ADAL" clId="{46BE184E-840E-48D3-B624-C448522A216F}" dt="2026-02-02T15:03:25.762" v="1362" actId="20577"/>
          <ac:spMkLst>
            <pc:docMk/>
            <pc:sldMk cId="2601102866" sldId="141169052"/>
            <ac:spMk id="5" creationId="{534C6C02-8298-8D0B-2602-18A274C57E0E}"/>
          </ac:spMkLst>
        </pc:spChg>
      </pc:sldChg>
      <pc:sldChg chg="modSp mod">
        <pc:chgData name="Mascha Theiler" userId="a0f496a5-efc4-4b52-959d-5e95987cae8c" providerId="ADAL" clId="{46BE184E-840E-48D3-B624-C448522A216F}" dt="2026-02-02T15:06:30.454" v="1402" actId="20577"/>
        <pc:sldMkLst>
          <pc:docMk/>
          <pc:sldMk cId="2591556026" sldId="141169053"/>
        </pc:sldMkLst>
        <pc:spChg chg="mod">
          <ac:chgData name="Mascha Theiler" userId="a0f496a5-efc4-4b52-959d-5e95987cae8c" providerId="ADAL" clId="{46BE184E-840E-48D3-B624-C448522A216F}" dt="2026-02-02T15:02:53.495" v="1321" actId="20577"/>
          <ac:spMkLst>
            <pc:docMk/>
            <pc:sldMk cId="2591556026" sldId="141169053"/>
            <ac:spMk id="2" creationId="{5E1FB786-8447-72E4-4E94-0FB3E97A2A52}"/>
          </ac:spMkLst>
        </pc:spChg>
        <pc:spChg chg="mod">
          <ac:chgData name="Mascha Theiler" userId="a0f496a5-efc4-4b52-959d-5e95987cae8c" providerId="ADAL" clId="{46BE184E-840E-48D3-B624-C448522A216F}" dt="2026-02-02T15:06:30.454" v="1402" actId="20577"/>
          <ac:spMkLst>
            <pc:docMk/>
            <pc:sldMk cId="2591556026" sldId="141169053"/>
            <ac:spMk id="3" creationId="{F906D751-9B54-FDC4-825D-2039CB4D7B2D}"/>
          </ac:spMkLst>
        </pc:spChg>
        <pc:spChg chg="mod">
          <ac:chgData name="Mascha Theiler" userId="a0f496a5-efc4-4b52-959d-5e95987cae8c" providerId="ADAL" clId="{46BE184E-840E-48D3-B624-C448522A216F}" dt="2026-02-02T15:03:17.236" v="1343" actId="20577"/>
          <ac:spMkLst>
            <pc:docMk/>
            <pc:sldMk cId="2591556026" sldId="141169053"/>
            <ac:spMk id="5" creationId="{2142ED5D-544F-BAD2-F782-9F4DAF69515B}"/>
          </ac:spMkLst>
        </pc:spChg>
      </pc:sldChg>
      <pc:sldChg chg="modSp mod">
        <pc:chgData name="Mascha Theiler" userId="a0f496a5-efc4-4b52-959d-5e95987cae8c" providerId="ADAL" clId="{46BE184E-840E-48D3-B624-C448522A216F}" dt="2026-02-02T15:11:25.373" v="1672" actId="20577"/>
        <pc:sldMkLst>
          <pc:docMk/>
          <pc:sldMk cId="2832019376" sldId="141169054"/>
        </pc:sldMkLst>
        <pc:spChg chg="mod">
          <ac:chgData name="Mascha Theiler" userId="a0f496a5-efc4-4b52-959d-5e95987cae8c" providerId="ADAL" clId="{46BE184E-840E-48D3-B624-C448522A216F}" dt="2026-02-02T15:08:25.414" v="1473" actId="20577"/>
          <ac:spMkLst>
            <pc:docMk/>
            <pc:sldMk cId="2832019376" sldId="141169054"/>
            <ac:spMk id="2" creationId="{4BE0E8F3-6366-4D6A-A2E1-14B83F2D9863}"/>
          </ac:spMkLst>
        </pc:spChg>
        <pc:spChg chg="mod">
          <ac:chgData name="Mascha Theiler" userId="a0f496a5-efc4-4b52-959d-5e95987cae8c" providerId="ADAL" clId="{46BE184E-840E-48D3-B624-C448522A216F}" dt="2026-02-02T15:10:25.837" v="1610"/>
          <ac:spMkLst>
            <pc:docMk/>
            <pc:sldMk cId="2832019376" sldId="141169054"/>
            <ac:spMk id="5" creationId="{D9F11AFE-CAA5-CF79-ECD8-FD08827CF16F}"/>
          </ac:spMkLst>
        </pc:spChg>
        <pc:spChg chg="mod">
          <ac:chgData name="Mascha Theiler" userId="a0f496a5-efc4-4b52-959d-5e95987cae8c" providerId="ADAL" clId="{46BE184E-840E-48D3-B624-C448522A216F}" dt="2026-02-02T15:08:30.984" v="1483" actId="20577"/>
          <ac:spMkLst>
            <pc:docMk/>
            <pc:sldMk cId="2832019376" sldId="141169054"/>
            <ac:spMk id="6" creationId="{FBCC0CC4-EFB2-8BD8-F9E4-82148228DC0A}"/>
          </ac:spMkLst>
        </pc:spChg>
        <pc:spChg chg="mod">
          <ac:chgData name="Mascha Theiler" userId="a0f496a5-efc4-4b52-959d-5e95987cae8c" providerId="ADAL" clId="{46BE184E-840E-48D3-B624-C448522A216F}" dt="2026-02-02T15:11:25.373" v="1672" actId="20577"/>
          <ac:spMkLst>
            <pc:docMk/>
            <pc:sldMk cId="2832019376" sldId="141169054"/>
            <ac:spMk id="8" creationId="{16F51DAB-CB86-FF7C-D670-7A2C15DC74F3}"/>
          </ac:spMkLst>
        </pc:spChg>
      </pc:sldChg>
      <pc:sldChg chg="modSp mod">
        <pc:chgData name="Mascha Theiler" userId="a0f496a5-efc4-4b52-959d-5e95987cae8c" providerId="ADAL" clId="{46BE184E-840E-48D3-B624-C448522A216F}" dt="2026-02-02T15:11:18.077" v="1653" actId="20577"/>
        <pc:sldMkLst>
          <pc:docMk/>
          <pc:sldMk cId="1554640849" sldId="141169055"/>
        </pc:sldMkLst>
        <pc:spChg chg="mod">
          <ac:chgData name="Mascha Theiler" userId="a0f496a5-efc4-4b52-959d-5e95987cae8c" providerId="ADAL" clId="{46BE184E-840E-48D3-B624-C448522A216F}" dt="2026-02-02T15:11:09.248" v="1627" actId="20577"/>
          <ac:spMkLst>
            <pc:docMk/>
            <pc:sldMk cId="1554640849" sldId="141169055"/>
            <ac:spMk id="2" creationId="{E7BF3F63-99A7-FBFF-7EAB-57D533FEF900}"/>
          </ac:spMkLst>
        </pc:spChg>
        <pc:spChg chg="mod">
          <ac:chgData name="Mascha Theiler" userId="a0f496a5-efc4-4b52-959d-5e95987cae8c" providerId="ADAL" clId="{46BE184E-840E-48D3-B624-C448522A216F}" dt="2026-02-02T15:10:58.415" v="1613" actId="11"/>
          <ac:spMkLst>
            <pc:docMk/>
            <pc:sldMk cId="1554640849" sldId="141169055"/>
            <ac:spMk id="5" creationId="{80E747B2-FFFC-59D5-97BD-333A11EBEE72}"/>
          </ac:spMkLst>
        </pc:spChg>
        <pc:spChg chg="mod">
          <ac:chgData name="Mascha Theiler" userId="a0f496a5-efc4-4b52-959d-5e95987cae8c" providerId="ADAL" clId="{46BE184E-840E-48D3-B624-C448522A216F}" dt="2026-02-02T15:11:12.974" v="1634" actId="20577"/>
          <ac:spMkLst>
            <pc:docMk/>
            <pc:sldMk cId="1554640849" sldId="141169055"/>
            <ac:spMk id="6" creationId="{1DA53B55-7D3A-E412-03E7-C44A18E3016A}"/>
          </ac:spMkLst>
        </pc:spChg>
        <pc:spChg chg="mod">
          <ac:chgData name="Mascha Theiler" userId="a0f496a5-efc4-4b52-959d-5e95987cae8c" providerId="ADAL" clId="{46BE184E-840E-48D3-B624-C448522A216F}" dt="2026-02-02T15:11:18.077" v="1653" actId="20577"/>
          <ac:spMkLst>
            <pc:docMk/>
            <pc:sldMk cId="1554640849" sldId="141169055"/>
            <ac:spMk id="8" creationId="{7813EDC6-6D8E-1964-AD3B-1E7712A5727C}"/>
          </ac:spMkLst>
        </pc:spChg>
      </pc:sldChg>
      <pc:sldChg chg="modSp mod">
        <pc:chgData name="Mascha Theiler" userId="a0f496a5-efc4-4b52-959d-5e95987cae8c" providerId="ADAL" clId="{46BE184E-840E-48D3-B624-C448522A216F}" dt="2026-02-02T15:15:34.144" v="1771" actId="113"/>
        <pc:sldMkLst>
          <pc:docMk/>
          <pc:sldMk cId="2823347471" sldId="141169056"/>
        </pc:sldMkLst>
        <pc:spChg chg="mod">
          <ac:chgData name="Mascha Theiler" userId="a0f496a5-efc4-4b52-959d-5e95987cae8c" providerId="ADAL" clId="{46BE184E-840E-48D3-B624-C448522A216F}" dt="2026-02-02T15:14:12.574" v="1715" actId="20577"/>
          <ac:spMkLst>
            <pc:docMk/>
            <pc:sldMk cId="2823347471" sldId="141169056"/>
            <ac:spMk id="2" creationId="{B5994759-173C-166E-9125-D19C3D530974}"/>
          </ac:spMkLst>
        </pc:spChg>
        <pc:spChg chg="mod">
          <ac:chgData name="Mascha Theiler" userId="a0f496a5-efc4-4b52-959d-5e95987cae8c" providerId="ADAL" clId="{46BE184E-840E-48D3-B624-C448522A216F}" dt="2026-02-02T15:15:34.144" v="1771" actId="113"/>
          <ac:spMkLst>
            <pc:docMk/>
            <pc:sldMk cId="2823347471" sldId="141169056"/>
            <ac:spMk id="3" creationId="{BB4BF1D1-F273-A383-C7FD-625A8F357399}"/>
          </ac:spMkLst>
        </pc:spChg>
        <pc:spChg chg="mod">
          <ac:chgData name="Mascha Theiler" userId="a0f496a5-efc4-4b52-959d-5e95987cae8c" providerId="ADAL" clId="{46BE184E-840E-48D3-B624-C448522A216F}" dt="2026-02-02T15:14:32.927" v="1754" actId="20577"/>
          <ac:spMkLst>
            <pc:docMk/>
            <pc:sldMk cId="2823347471" sldId="141169056"/>
            <ac:spMk id="5" creationId="{AC166D89-E324-3513-AF50-6DC2DBBBD772}"/>
          </ac:spMkLst>
        </pc:spChg>
      </pc:sldChg>
      <pc:sldChg chg="addSp modSp mod">
        <pc:chgData name="Mascha Theiler" userId="a0f496a5-efc4-4b52-959d-5e95987cae8c" providerId="ADAL" clId="{46BE184E-840E-48D3-B624-C448522A216F}" dt="2026-02-02T15:17:32.553" v="1792" actId="20577"/>
        <pc:sldMkLst>
          <pc:docMk/>
          <pc:sldMk cId="1477428594" sldId="141169057"/>
        </pc:sldMkLst>
        <pc:spChg chg="mod">
          <ac:chgData name="Mascha Theiler" userId="a0f496a5-efc4-4b52-959d-5e95987cae8c" providerId="ADAL" clId="{46BE184E-840E-48D3-B624-C448522A216F}" dt="2026-02-02T15:15:46.037" v="1773" actId="20577"/>
          <ac:spMkLst>
            <pc:docMk/>
            <pc:sldMk cId="1477428594" sldId="141169057"/>
            <ac:spMk id="2" creationId="{DD989EE7-CE3A-97FA-44E7-B32386A9CFEC}"/>
          </ac:spMkLst>
        </pc:spChg>
        <pc:spChg chg="mod">
          <ac:chgData name="Mascha Theiler" userId="a0f496a5-efc4-4b52-959d-5e95987cae8c" providerId="ADAL" clId="{46BE184E-840E-48D3-B624-C448522A216F}" dt="2026-02-02T15:17:32.553" v="1792" actId="20577"/>
          <ac:spMkLst>
            <pc:docMk/>
            <pc:sldMk cId="1477428594" sldId="141169057"/>
            <ac:spMk id="3" creationId="{E3DBB279-8ECC-08ED-1DD2-3C7CE366BD78}"/>
          </ac:spMkLst>
        </pc:spChg>
        <pc:spChg chg="mod">
          <ac:chgData name="Mascha Theiler" userId="a0f496a5-efc4-4b52-959d-5e95987cae8c" providerId="ADAL" clId="{46BE184E-840E-48D3-B624-C448522A216F}" dt="2026-02-02T15:14:27.009" v="1735" actId="20577"/>
          <ac:spMkLst>
            <pc:docMk/>
            <pc:sldMk cId="1477428594" sldId="141169057"/>
            <ac:spMk id="5" creationId="{530A56C0-274F-7F47-1B67-A6546F2ADA53}"/>
          </ac:spMkLst>
        </pc:spChg>
      </pc:sldChg>
      <pc:sldChg chg="modSp mod">
        <pc:chgData name="Mascha Theiler" userId="a0f496a5-efc4-4b52-959d-5e95987cae8c" providerId="ADAL" clId="{46BE184E-840E-48D3-B624-C448522A216F}" dt="2026-02-02T13:54:26.205" v="489" actId="20577"/>
        <pc:sldMkLst>
          <pc:docMk/>
          <pc:sldMk cId="3527244957" sldId="141169058"/>
        </pc:sldMkLst>
        <pc:spChg chg="mod">
          <ac:chgData name="Mascha Theiler" userId="a0f496a5-efc4-4b52-959d-5e95987cae8c" providerId="ADAL" clId="{46BE184E-840E-48D3-B624-C448522A216F}" dt="2026-02-02T13:53:30.443" v="469" actId="20577"/>
          <ac:spMkLst>
            <pc:docMk/>
            <pc:sldMk cId="3527244957" sldId="141169058"/>
            <ac:spMk id="2" creationId="{88C4D92E-429C-F176-7DB8-D09A82BB0ED5}"/>
          </ac:spMkLst>
        </pc:spChg>
        <pc:spChg chg="mod">
          <ac:chgData name="Mascha Theiler" userId="a0f496a5-efc4-4b52-959d-5e95987cae8c" providerId="ADAL" clId="{46BE184E-840E-48D3-B624-C448522A216F}" dt="2026-02-02T13:54:14.069" v="470"/>
          <ac:spMkLst>
            <pc:docMk/>
            <pc:sldMk cId="3527244957" sldId="141169058"/>
            <ac:spMk id="5" creationId="{B50597C0-CFC9-8F79-C693-175A163416B6}"/>
          </ac:spMkLst>
        </pc:spChg>
        <pc:spChg chg="mod">
          <ac:chgData name="Mascha Theiler" userId="a0f496a5-efc4-4b52-959d-5e95987cae8c" providerId="ADAL" clId="{46BE184E-840E-48D3-B624-C448522A216F}" dt="2026-02-02T13:53:20.188" v="442" actId="20577"/>
          <ac:spMkLst>
            <pc:docMk/>
            <pc:sldMk cId="3527244957" sldId="141169058"/>
            <ac:spMk id="6" creationId="{3DF1DA83-D907-455C-0274-80607F12242E}"/>
          </ac:spMkLst>
        </pc:spChg>
        <pc:spChg chg="mod">
          <ac:chgData name="Mascha Theiler" userId="a0f496a5-efc4-4b52-959d-5e95987cae8c" providerId="ADAL" clId="{46BE184E-840E-48D3-B624-C448522A216F}" dt="2026-02-02T13:54:26.205" v="489" actId="20577"/>
          <ac:spMkLst>
            <pc:docMk/>
            <pc:sldMk cId="3527244957" sldId="141169058"/>
            <ac:spMk id="8" creationId="{DD127240-3D56-7E1C-EA03-6C26BCDE45C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4.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4.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4D8C72A-D465-CF64-3ACE-53EBBA33D231}"/>
              </a:ext>
            </a:extLst>
          </p:cNvPr>
          <p:cNvGraphicFramePr>
            <a:graphicFrameLocks noChangeAspect="1"/>
          </p:cNvGraphicFramePr>
          <p:nvPr userDrawn="1">
            <p:custDataLst>
              <p:tags r:id="rId30"/>
            </p:custDataLst>
            <p:extLst>
              <p:ext uri="{D42A27DB-BD31-4B8C-83A1-F6EECF244321}">
                <p14:modId xmlns:p14="http://schemas.microsoft.com/office/powerpoint/2010/main" val="1265239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10" name="think-cell data - do not delete" hidden="1">
                        <a:extLst>
                          <a:ext uri="{FF2B5EF4-FFF2-40B4-BE49-F238E27FC236}">
                            <a16:creationId xmlns:a16="http://schemas.microsoft.com/office/drawing/2014/main" id="{74D8C72A-D465-CF64-3ACE-53EBBA33D231}"/>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www.youtube.com/watch?v=qeB4LXti5gA" TargetMode="External"/><Relationship Id="rId2" Type="http://schemas.openxmlformats.org/officeDocument/2006/relationships/hyperlink" Target="https://nfp73.ch/en/topics/forest-management" TargetMode="External"/><Relationship Id="rId1" Type="http://schemas.openxmlformats.org/officeDocument/2006/relationships/slideLayout" Target="../slideLayouts/slideLayout4.xml"/><Relationship Id="rId5" Type="http://schemas.openxmlformats.org/officeDocument/2006/relationships/hyperlink" Target="https://nfp73.ch/download/60/230224_SNF_NFP73_PB_MAFES_EN.pdf?inline=true" TargetMode="External"/><Relationship Id="rId4" Type="http://schemas.openxmlformats.org/officeDocument/2006/relationships/hyperlink" Target="https://www.youtube.com/watch?v=XT5v-XfpLL8" TargetMode="Externa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4" Type="http://schemas.openxmlformats.org/officeDocument/2006/relationships/image" Target="../media/image2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2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nfp73.ch/download/60/230224_SNF_NFP73_PB_MAFES_EN.pdf?inline=true" TargetMode="External"/><Relationship Id="rId5" Type="http://schemas.openxmlformats.org/officeDocument/2006/relationships/hyperlink" Target="https://nfp73.ch/en/projects/trade-offs-in-forests" TargetMode="External"/><Relationship Id="rId4" Type="http://schemas.openxmlformats.org/officeDocument/2006/relationships/image" Target="../media/image30.emf"/></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0.xml"/><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3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image" Target="../media/image32.emf"/></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hyperlink" Target="https://www.youtube.com/watch?v=Et5Fq6o__JQ" TargetMode="Externa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hyperlink" Target="https://www.youtube.com/watch?v=qeB4LXti5gA" TargetMode="External"/><Relationship Id="rId5" Type="http://schemas.openxmlformats.org/officeDocument/2006/relationships/hyperlink" Target="https://nfp73.ch/en/projects/insurance-value-of-forest-ecosystems" TargetMode="External"/><Relationship Id="rId4" Type="http://schemas.openxmlformats.org/officeDocument/2006/relationships/image" Target="../media/image3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tags" Target="../tags/tag17.xml"/><Relationship Id="rId4" Type="http://schemas.openxmlformats.org/officeDocument/2006/relationships/image" Target="../media/image3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6.xml"/><Relationship Id="rId1" Type="http://schemas.openxmlformats.org/officeDocument/2006/relationships/tags" Target="../tags/tag18.xml"/><Relationship Id="rId4" Type="http://schemas.openxmlformats.org/officeDocument/2006/relationships/image" Target="../media/image3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6.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36.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qeB4LXti5gA" TargetMode="External"/><Relationship Id="rId2" Type="http://schemas.openxmlformats.org/officeDocument/2006/relationships/hyperlink" Target="https://nfp73.ch/en/topics/forest-management" TargetMode="External"/><Relationship Id="rId1" Type="http://schemas.openxmlformats.org/officeDocument/2006/relationships/slideLayout" Target="../slideLayouts/slideLayout4.xml"/><Relationship Id="rId4" Type="http://schemas.openxmlformats.org/officeDocument/2006/relationships/hyperlink" Target="https://open.spotify.com/episode/0k9Lz92lXyObdfb1XxAuHY?si=60332e72fe1a4aa0&amp;nd=1&amp;dlsi=8b7e6bc935944791"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13.jp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aerial view of a forest&#10;&#10;AI-generated content may be incorrect.">
            <a:extLst>
              <a:ext uri="{FF2B5EF4-FFF2-40B4-BE49-F238E27FC236}">
                <a16:creationId xmlns:a16="http://schemas.microsoft.com/office/drawing/2014/main" id="{D54D00D3-7E6C-DF5F-EBAA-52353540619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4151" b="14151"/>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de-CH" dirty="0"/>
              <a:t>Forest </a:t>
            </a:r>
            <a:r>
              <a:rPr lang="de-CH" dirty="0" err="1"/>
              <a:t>management</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2" name="Picture 2" descr="Green Hospital - Nationales Forschungsprogramm 73">
            <a:extLst>
              <a:ext uri="{FF2B5EF4-FFF2-40B4-BE49-F238E27FC236}">
                <a16:creationId xmlns:a16="http://schemas.microsoft.com/office/drawing/2014/main" id="{72AEF6AE-5BE5-083E-DA66-FF57316376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012" y="528267"/>
            <a:ext cx="3536605" cy="7082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5AFA320-7AA6-4F1C-95E3-9703D2C7908D}"/>
              </a:ext>
            </a:extLst>
          </p:cNvPr>
          <p:cNvPicPr>
            <a:picLocks noChangeAspect="1"/>
          </p:cNvPicPr>
          <p:nvPr/>
        </p:nvPicPr>
        <p:blipFill>
          <a:blip r:embed="rId4"/>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research</a:t>
            </a:r>
            <a:r>
              <a:rPr lang="de-CH" dirty="0"/>
              <a:t> </a:t>
            </a:r>
            <a:r>
              <a:rPr lang="de-CH" dirty="0" err="1"/>
              <a:t>projects</a:t>
            </a:r>
            <a:endParaRPr lang="de-CH" dirty="0"/>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4114800" cy="4003357"/>
          </a:xfrm>
        </p:spPr>
        <p:txBody>
          <a:bodyPr/>
          <a:lstStyle/>
          <a:p>
            <a:pPr marL="0" indent="0">
              <a:buNone/>
            </a:pPr>
            <a:r>
              <a:rPr lang="en-US" dirty="0"/>
              <a:t>In the focus area “Forest Management,” there were three research projects:</a:t>
            </a:r>
          </a:p>
          <a:p>
            <a:pPr marL="0" indent="0">
              <a:buNone/>
            </a:pPr>
            <a:endParaRPr lang="en-US" dirty="0"/>
          </a:p>
          <a:p>
            <a:r>
              <a:rPr lang="en-US" dirty="0"/>
              <a:t>Ecosystem services of forests</a:t>
            </a:r>
          </a:p>
          <a:p>
            <a:r>
              <a:rPr lang="en-US" dirty="0"/>
              <a:t>Trade-offs in forestry</a:t>
            </a:r>
          </a:p>
          <a:p>
            <a:r>
              <a:rPr lang="en-US" dirty="0"/>
              <a:t>Insurance values of forest ecosystems</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path through a forest&#10;&#10;AI-generated content may be incorrect.">
            <a:extLst>
              <a:ext uri="{FF2B5EF4-FFF2-40B4-BE49-F238E27FC236}">
                <a16:creationId xmlns:a16="http://schemas.microsoft.com/office/drawing/2014/main" id="{25305A31-EB5C-350F-61C4-A35DE57F3B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2884" y="1320068"/>
            <a:ext cx="7309116" cy="4867985"/>
          </a:xfrm>
          <a:prstGeom prst="rect">
            <a:avLst/>
          </a:prstGeom>
        </p:spPr>
      </p:pic>
    </p:spTree>
    <p:extLst>
      <p:ext uri="{BB962C8B-B14F-4D97-AF65-F5344CB8AC3E}">
        <p14:creationId xmlns:p14="http://schemas.microsoft.com/office/powerpoint/2010/main" val="741183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sz="3600" dirty="0" err="1"/>
              <a:t>Ecosystem</a:t>
            </a:r>
            <a:r>
              <a:rPr lang="de-CH" sz="3600" dirty="0"/>
              <a:t> </a:t>
            </a:r>
            <a:r>
              <a:rPr lang="de-CH" sz="3600" dirty="0" err="1"/>
              <a:t>services</a:t>
            </a:r>
            <a:r>
              <a:rPr lang="de-CH" sz="3600" dirty="0"/>
              <a:t> </a:t>
            </a:r>
            <a:r>
              <a:rPr lang="de-CH" sz="3600" dirty="0" err="1"/>
              <a:t>of</a:t>
            </a:r>
            <a:r>
              <a:rPr lang="de-CH" sz="3600" dirty="0"/>
              <a:t> </a:t>
            </a:r>
            <a:r>
              <a:rPr lang="de-CH" sz="3600" dirty="0" err="1"/>
              <a:t>forests</a:t>
            </a:r>
            <a:endParaRPr lang="de-CH" sz="3600" dirty="0"/>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6927215" cy="4369117"/>
          </a:xfrm>
        </p:spPr>
        <p:txBody>
          <a:bodyPr/>
          <a:lstStyle/>
          <a:p>
            <a:pPr marL="0" indent="0">
              <a:buNone/>
            </a:pPr>
            <a:r>
              <a:rPr lang="en-US" dirty="0"/>
              <a:t>“Which forest management approaches improve the future services of our forests? Under different management and climate scenarios, we simulated forest growth using two computer models. Based on various indicators, different ecosystem services could then be assessed.”</a:t>
            </a:r>
          </a:p>
          <a:p>
            <a:pPr marL="0" indent="0">
              <a:buNone/>
            </a:pPr>
            <a:r>
              <a:rPr lang="de-CH" sz="1800" dirty="0">
                <a:ea typeface="Open Sans" panose="020B0606030504020204" pitchFamily="34" charset="0"/>
                <a:cs typeface="Open Sans" panose="020B0606030504020204" pitchFamily="34" charset="0"/>
              </a:rPr>
              <a:t>Dr. Esther </a:t>
            </a:r>
            <a:r>
              <a:rPr lang="de-CH" sz="1800" dirty="0" err="1">
                <a:ea typeface="Open Sans" panose="020B0606030504020204" pitchFamily="34" charset="0"/>
                <a:cs typeface="Open Sans" panose="020B0606030504020204" pitchFamily="34" charset="0"/>
              </a:rPr>
              <a:t>Thürig</a:t>
            </a:r>
            <a:r>
              <a:rPr lang="de-CH" sz="1800" dirty="0">
                <a:ea typeface="Open Sans" panose="020B0606030504020204" pitchFamily="34" charset="0"/>
                <a:cs typeface="Open Sans" panose="020B0606030504020204" pitchFamily="34" charset="0"/>
              </a:rPr>
              <a:t>, Project </a:t>
            </a:r>
            <a:r>
              <a:rPr lang="de-CH" sz="1800" dirty="0" err="1">
                <a:ea typeface="Open Sans" panose="020B0606030504020204" pitchFamily="34" charset="0"/>
                <a:cs typeface="Open Sans" panose="020B0606030504020204" pitchFamily="34" charset="0"/>
              </a:rPr>
              <a:t>lead</a:t>
            </a:r>
            <a:r>
              <a:rPr lang="de-CH" sz="1800" dirty="0">
                <a:ea typeface="Open Sans" panose="020B0606030504020204" pitchFamily="34" charset="0"/>
                <a:cs typeface="Open Sans" panose="020B0606030504020204" pitchFamily="34" charset="0"/>
              </a:rPr>
              <a:t>, </a:t>
            </a:r>
            <a:r>
              <a:rPr lang="de-CH" dirty="0" err="1"/>
              <a:t>Ecosystem</a:t>
            </a:r>
            <a:r>
              <a:rPr lang="de-CH" dirty="0"/>
              <a:t> </a:t>
            </a:r>
            <a:r>
              <a:rPr lang="de-CH" dirty="0" err="1"/>
              <a:t>services</a:t>
            </a:r>
            <a:r>
              <a:rPr lang="de-CH" dirty="0"/>
              <a:t> </a:t>
            </a:r>
            <a:r>
              <a:rPr lang="de-CH" dirty="0" err="1"/>
              <a:t>of</a:t>
            </a:r>
            <a:r>
              <a:rPr lang="de-CH" dirty="0"/>
              <a:t> </a:t>
            </a:r>
            <a:r>
              <a:rPr lang="de-CH" dirty="0" err="1"/>
              <a:t>forests</a:t>
            </a:r>
            <a:endParaRPr lang="de-CH" sz="1800" dirty="0">
              <a:ea typeface="Open Sans" panose="020B0606030504020204" pitchFamily="34" charset="0"/>
              <a:cs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group of trees with fog&#10;&#10;AI-generated content may be incorrect.">
            <a:extLst>
              <a:ext uri="{FF2B5EF4-FFF2-40B4-BE49-F238E27FC236}">
                <a16:creationId xmlns:a16="http://schemas.microsoft.com/office/drawing/2014/main" id="{269CD876-9060-FCDE-545E-70A7639145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2959" y="0"/>
            <a:ext cx="4579041" cy="6858000"/>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a:lstStyle/>
          <a:p>
            <a:r>
              <a:rPr lang="en-US" dirty="0"/>
              <a:t>Ecosystem services of forests – </a:t>
            </a:r>
            <a:r>
              <a:rPr lang="de-CH" dirty="0" err="1"/>
              <a:t>Assignments</a:t>
            </a: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Name the three steps required for the “mainstreaming of forest ecosystem services.”</a:t>
            </a:r>
          </a:p>
          <a:p>
            <a:pPr marL="457200" indent="-457200">
              <a:lnSpc>
                <a:spcPct val="107000"/>
              </a:lnSpc>
              <a:spcAft>
                <a:spcPts val="400"/>
              </a:spcAft>
              <a:buFont typeface="+mj-lt"/>
              <a:buAutoNum type="arabicPeriod"/>
            </a:pPr>
            <a:r>
              <a:rPr lang="en-US" dirty="0"/>
              <a:t>Name five services that forests provide for people.</a:t>
            </a:r>
          </a:p>
          <a:p>
            <a:pPr marL="457200" indent="-457200">
              <a:lnSpc>
                <a:spcPct val="107000"/>
              </a:lnSpc>
              <a:spcAft>
                <a:spcPts val="400"/>
              </a:spcAft>
              <a:buFont typeface="+mj-lt"/>
              <a:buAutoNum type="arabicPeriod"/>
            </a:pPr>
            <a:r>
              <a:rPr lang="en-US" dirty="0"/>
              <a:t>Explain: How do the different services depend on the climate scenario, the site conditions, and forest management?</a:t>
            </a:r>
          </a:p>
          <a:p>
            <a:pPr marL="0" indent="0">
              <a:lnSpc>
                <a:spcPct val="107000"/>
              </a:lnSpc>
              <a:spcAft>
                <a:spcPts val="400"/>
              </a:spcAft>
              <a:buNone/>
            </a:pPr>
            <a:endParaRPr lang="de-CH" sz="1800"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buNone/>
            </a:pPr>
            <a:r>
              <a:rPr lang="de-CH" dirty="0">
                <a:hlinkClick r:id="rId2"/>
              </a:rPr>
              <a:t>Focus Forest Management </a:t>
            </a:r>
            <a:r>
              <a:rPr lang="de-CH" dirty="0"/>
              <a:t>(Website NPF 73)</a:t>
            </a:r>
          </a:p>
          <a:p>
            <a:pPr marL="0" indent="0">
              <a:buNone/>
            </a:pPr>
            <a:r>
              <a:rPr lang="de-CH" dirty="0">
                <a:hlinkClick r:id="rId3"/>
              </a:rPr>
              <a:t>Forests and </a:t>
            </a:r>
            <a:r>
              <a:rPr lang="de-CH" dirty="0" err="1">
                <a:hlinkClick r:id="rId3"/>
              </a:rPr>
              <a:t>their</a:t>
            </a:r>
            <a:r>
              <a:rPr lang="de-CH" dirty="0">
                <a:hlinkClick r:id="rId3"/>
              </a:rPr>
              <a:t> </a:t>
            </a:r>
            <a:r>
              <a:rPr lang="de-CH" dirty="0" err="1">
                <a:hlinkClick r:id="rId3"/>
              </a:rPr>
              <a:t>services</a:t>
            </a:r>
            <a:r>
              <a:rPr lang="de-CH" dirty="0">
                <a:hlinkClick r:id="rId3"/>
              </a:rPr>
              <a:t> </a:t>
            </a:r>
            <a:r>
              <a:rPr lang="de-CH" dirty="0" err="1">
                <a:hlinkClick r:id="rId3"/>
              </a:rPr>
              <a:t>for</a:t>
            </a:r>
            <a:r>
              <a:rPr lang="de-CH" dirty="0">
                <a:hlinkClick r:id="rId3"/>
              </a:rPr>
              <a:t> </a:t>
            </a:r>
            <a:r>
              <a:rPr lang="de-CH" dirty="0" err="1">
                <a:hlinkClick r:id="rId3"/>
              </a:rPr>
              <a:t>people</a:t>
            </a:r>
            <a:r>
              <a:rPr lang="de-CH" dirty="0">
                <a:hlinkClick r:id="rId3"/>
              </a:rPr>
              <a:t> </a:t>
            </a:r>
            <a:r>
              <a:rPr lang="de-CH" dirty="0"/>
              <a:t>(Video, 3:30)</a:t>
            </a:r>
          </a:p>
          <a:p>
            <a:pPr marL="0" indent="0">
              <a:lnSpc>
                <a:spcPct val="107000"/>
              </a:lnSpc>
              <a:spcAft>
                <a:spcPts val="400"/>
              </a:spcAft>
              <a:buNone/>
            </a:pPr>
            <a:r>
              <a:rPr lang="de-CH" dirty="0" err="1">
                <a:hlinkClick r:id="rId4"/>
              </a:rPr>
              <a:t>Ecosystem</a:t>
            </a:r>
            <a:r>
              <a:rPr lang="de-CH" dirty="0">
                <a:hlinkClick r:id="rId4"/>
              </a:rPr>
              <a:t> </a:t>
            </a:r>
            <a:r>
              <a:rPr lang="de-CH" dirty="0" err="1">
                <a:hlinkClick r:id="rId4"/>
              </a:rPr>
              <a:t>services</a:t>
            </a:r>
            <a:r>
              <a:rPr lang="de-CH" dirty="0">
                <a:hlinkClick r:id="rId4"/>
              </a:rPr>
              <a:t> in </a:t>
            </a:r>
            <a:r>
              <a:rPr lang="de-CH" dirty="0" err="1">
                <a:hlinkClick r:id="rId4"/>
              </a:rPr>
              <a:t>forests</a:t>
            </a:r>
            <a:r>
              <a:rPr lang="de-CH" dirty="0"/>
              <a:t> (Scientific </a:t>
            </a:r>
            <a:r>
              <a:rPr lang="de-CH" dirty="0" err="1"/>
              <a:t>lecture</a:t>
            </a:r>
            <a:r>
              <a:rPr lang="de-CH" dirty="0"/>
              <a:t>)</a:t>
            </a:r>
            <a:endParaRPr lang="de-CH" sz="1800" dirty="0"/>
          </a:p>
          <a:p>
            <a:pPr marL="0" indent="0">
              <a:lnSpc>
                <a:spcPct val="107000"/>
              </a:lnSpc>
              <a:spcAft>
                <a:spcPts val="400"/>
              </a:spcAft>
              <a:buNone/>
            </a:pPr>
            <a:r>
              <a:rPr lang="de-CH" sz="1800" dirty="0">
                <a:hlinkClick r:id="rId5"/>
              </a:rPr>
              <a:t>Mainstreaming Forest </a:t>
            </a:r>
            <a:r>
              <a:rPr lang="de-CH" sz="1800" dirty="0" err="1">
                <a:hlinkClick r:id="rId5"/>
              </a:rPr>
              <a:t>Ecosystem</a:t>
            </a:r>
            <a:r>
              <a:rPr lang="de-CH" sz="1800" dirty="0">
                <a:hlinkClick r:id="rId5"/>
              </a:rPr>
              <a:t> Services </a:t>
            </a:r>
            <a:r>
              <a:rPr lang="de-CH" sz="1800" dirty="0"/>
              <a:t>(</a:t>
            </a:r>
            <a:r>
              <a:rPr lang="de-CH" dirty="0" err="1"/>
              <a:t>thematic</a:t>
            </a:r>
            <a:r>
              <a:rPr lang="de-CH" dirty="0"/>
              <a:t> </a:t>
            </a:r>
            <a:r>
              <a:rPr lang="de-CH" dirty="0" err="1"/>
              <a:t>synthesis</a:t>
            </a:r>
            <a:r>
              <a:rPr lang="de-CH" sz="1800" dirty="0"/>
              <a:t>)</a:t>
            </a: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2338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E54E941-6733-2946-12D4-01524FFDB39E}"/>
              </a:ext>
            </a:extLst>
          </p:cNvPr>
          <p:cNvGraphicFramePr>
            <a:graphicFrameLocks noChangeAspect="1"/>
          </p:cNvGraphicFramePr>
          <p:nvPr>
            <p:custDataLst>
              <p:tags r:id="rId1"/>
            </p:custDataLst>
            <p:extLst>
              <p:ext uri="{D42A27DB-BD31-4B8C-83A1-F6EECF244321}">
                <p14:modId xmlns:p14="http://schemas.microsoft.com/office/powerpoint/2010/main" val="9242573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E54E941-6733-2946-12D4-01524FFDB39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8AF0CB-DE6C-9276-7187-3971B535211A}"/>
              </a:ext>
            </a:extLst>
          </p:cNvPr>
          <p:cNvSpPr>
            <a:spLocks noGrp="1"/>
          </p:cNvSpPr>
          <p:nvPr>
            <p:ph type="title"/>
          </p:nvPr>
        </p:nvSpPr>
        <p:spPr/>
        <p:txBody>
          <a:bodyPr vert="horz"/>
          <a:lstStyle/>
          <a:p>
            <a:r>
              <a:rPr lang="en-US" dirty="0"/>
              <a:t>Ecosystem services of forests – Background</a:t>
            </a:r>
            <a:endParaRPr lang="de-CH" dirty="0"/>
          </a:p>
        </p:txBody>
      </p:sp>
      <p:sp>
        <p:nvSpPr>
          <p:cNvPr id="3" name="Slide Number Placeholder 2">
            <a:extLst>
              <a:ext uri="{FF2B5EF4-FFF2-40B4-BE49-F238E27FC236}">
                <a16:creationId xmlns:a16="http://schemas.microsoft.com/office/drawing/2014/main" id="{2C171195-9946-ED28-6E22-20C6500573BA}"/>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4" name="Text Placeholder 3">
            <a:extLst>
              <a:ext uri="{FF2B5EF4-FFF2-40B4-BE49-F238E27FC236}">
                <a16:creationId xmlns:a16="http://schemas.microsoft.com/office/drawing/2014/main" id="{612B1EDE-F5CD-A378-13DE-6D73554F8370}"/>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16B1956-B58F-7F19-DDB9-F48638BD19A5}"/>
              </a:ext>
            </a:extLst>
          </p:cNvPr>
          <p:cNvSpPr>
            <a:spLocks noGrp="1"/>
          </p:cNvSpPr>
          <p:nvPr>
            <p:ph type="body" sz="quarter" idx="13"/>
          </p:nvPr>
        </p:nvSpPr>
        <p:spPr>
          <a:xfrm>
            <a:off x="479426" y="2565400"/>
            <a:ext cx="10609466" cy="3455988"/>
          </a:xfrm>
        </p:spPr>
        <p:txBody>
          <a:bodyPr/>
          <a:lstStyle/>
          <a:p>
            <a:r>
              <a:rPr lang="en-US" dirty="0"/>
              <a:t>For centuries, foresters and forest owners planned primarily with a view to achieving optimal timber yields. Today, Swiss forests are expected to provide a wide range of services, such as protection from avalanches and debris flows, as well as recreation. Some services can be delivered simultaneously, while others compete with one another. Megatrends such as climate change and the energy transition pose new challenges for the long-term provision of forest ecosystem services. The strategy of forest management influences which forest services are primarily promoted.</a:t>
            </a:r>
            <a:endParaRPr lang="de-CH" dirty="0"/>
          </a:p>
        </p:txBody>
      </p:sp>
      <p:sp>
        <p:nvSpPr>
          <p:cNvPr id="6" name="Text Placeholder 5">
            <a:extLst>
              <a:ext uri="{FF2B5EF4-FFF2-40B4-BE49-F238E27FC236}">
                <a16:creationId xmlns:a16="http://schemas.microsoft.com/office/drawing/2014/main" id="{C5B26FCE-0322-39A0-1201-50128670B47E}"/>
              </a:ext>
            </a:extLst>
          </p:cNvPr>
          <p:cNvSpPr>
            <a:spLocks noGrp="1"/>
          </p:cNvSpPr>
          <p:nvPr>
            <p:ph type="body" sz="quarter" idx="12"/>
          </p:nvPr>
        </p:nvSpPr>
        <p:spPr>
          <a:xfrm>
            <a:off x="479423" y="1808163"/>
            <a:ext cx="11233151" cy="587375"/>
          </a:xfrm>
        </p:spPr>
        <p:txBody>
          <a:bodyPr/>
          <a:lstStyle/>
          <a:p>
            <a:r>
              <a:rPr lang="de-CH" dirty="0"/>
              <a:t>Background</a:t>
            </a:r>
          </a:p>
        </p:txBody>
      </p:sp>
      <p:sp>
        <p:nvSpPr>
          <p:cNvPr id="8" name="Footer Placeholder 7">
            <a:extLst>
              <a:ext uri="{FF2B5EF4-FFF2-40B4-BE49-F238E27FC236}">
                <a16:creationId xmlns:a16="http://schemas.microsoft.com/office/drawing/2014/main" id="{BB12EB35-5C58-7B54-58E9-FC19E83D690C}"/>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934713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EEF74-056C-280B-50A9-AACE95E4869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F22CF70-D60D-9B59-7019-C1D8533021AD}"/>
              </a:ext>
            </a:extLst>
          </p:cNvPr>
          <p:cNvGraphicFramePr>
            <a:graphicFrameLocks noChangeAspect="1"/>
          </p:cNvGraphicFramePr>
          <p:nvPr>
            <p:custDataLst>
              <p:tags r:id="rId1"/>
            </p:custDataLst>
            <p:extLst>
              <p:ext uri="{D42A27DB-BD31-4B8C-83A1-F6EECF244321}">
                <p14:modId xmlns:p14="http://schemas.microsoft.com/office/powerpoint/2010/main" val="27980098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8F22CF70-D60D-9B59-7019-C1D8533021A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FEDBF5-4F06-0041-3DFC-32BAD0E42791}"/>
              </a:ext>
            </a:extLst>
          </p:cNvPr>
          <p:cNvSpPr>
            <a:spLocks noGrp="1"/>
          </p:cNvSpPr>
          <p:nvPr>
            <p:ph type="title"/>
          </p:nvPr>
        </p:nvSpPr>
        <p:spPr/>
        <p:txBody>
          <a:bodyPr vert="horz"/>
          <a:lstStyle/>
          <a:p>
            <a:r>
              <a:rPr lang="en-US" dirty="0"/>
              <a:t>Ecosystem services of forests – Aim</a:t>
            </a:r>
            <a:endParaRPr lang="de-CH" dirty="0"/>
          </a:p>
        </p:txBody>
      </p:sp>
      <p:sp>
        <p:nvSpPr>
          <p:cNvPr id="3" name="Slide Number Placeholder 2">
            <a:extLst>
              <a:ext uri="{FF2B5EF4-FFF2-40B4-BE49-F238E27FC236}">
                <a16:creationId xmlns:a16="http://schemas.microsoft.com/office/drawing/2014/main" id="{590CE975-75F8-BC41-06B3-6CF5D77C0991}"/>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4" name="Text Placeholder 3">
            <a:extLst>
              <a:ext uri="{FF2B5EF4-FFF2-40B4-BE49-F238E27FC236}">
                <a16:creationId xmlns:a16="http://schemas.microsoft.com/office/drawing/2014/main" id="{38F12FB9-9293-A916-9B06-D4ED7D2AD9E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93DEB2B-4D1E-23F9-8451-95DBE326F0B3}"/>
              </a:ext>
            </a:extLst>
          </p:cNvPr>
          <p:cNvSpPr>
            <a:spLocks noGrp="1"/>
          </p:cNvSpPr>
          <p:nvPr>
            <p:ph type="body" sz="quarter" idx="13"/>
          </p:nvPr>
        </p:nvSpPr>
        <p:spPr>
          <a:xfrm>
            <a:off x="479426" y="2565400"/>
            <a:ext cx="10609466" cy="3455988"/>
          </a:xfrm>
        </p:spPr>
        <p:txBody>
          <a:bodyPr/>
          <a:lstStyle/>
          <a:p>
            <a:r>
              <a:rPr lang="en-US" dirty="0"/>
              <a:t>The project aimed to develop a decision-support tool that allows forest enterprises to simulate which services their forests might provide better or worse in the future. The prototype links the Swiss forest growth model </a:t>
            </a:r>
            <a:r>
              <a:rPr lang="en-US" dirty="0" err="1"/>
              <a:t>SwissStandSim</a:t>
            </a:r>
            <a:r>
              <a:rPr lang="en-US" dirty="0"/>
              <a:t> with forest enterprise data and offers criteria for evaluating how well specific forest services are being delivered. The type of forest management and future climate scenarios can be varied.</a:t>
            </a:r>
            <a:endParaRPr lang="de-CH" dirty="0"/>
          </a:p>
        </p:txBody>
      </p:sp>
      <p:sp>
        <p:nvSpPr>
          <p:cNvPr id="6" name="Text Placeholder 5">
            <a:extLst>
              <a:ext uri="{FF2B5EF4-FFF2-40B4-BE49-F238E27FC236}">
                <a16:creationId xmlns:a16="http://schemas.microsoft.com/office/drawing/2014/main" id="{2AF84DF6-17EE-D154-72CA-BBE20D2C6076}"/>
              </a:ext>
            </a:extLst>
          </p:cNvPr>
          <p:cNvSpPr>
            <a:spLocks noGrp="1"/>
          </p:cNvSpPr>
          <p:nvPr>
            <p:ph type="body" sz="quarter" idx="12"/>
          </p:nvPr>
        </p:nvSpPr>
        <p:spPr>
          <a:xfrm>
            <a:off x="479423" y="1808163"/>
            <a:ext cx="11233151"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3359EE6A-373A-7DF1-5502-7C9DDECA7345}"/>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564508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B22713-E19A-99AB-A4C6-F7F782B1E9F2}"/>
              </a:ext>
            </a:extLst>
          </p:cNvPr>
          <p:cNvGraphicFramePr>
            <a:graphicFrameLocks noChangeAspect="1"/>
          </p:cNvGraphicFramePr>
          <p:nvPr>
            <p:custDataLst>
              <p:tags r:id="rId1"/>
            </p:custDataLst>
            <p:extLst>
              <p:ext uri="{D42A27DB-BD31-4B8C-83A1-F6EECF244321}">
                <p14:modId xmlns:p14="http://schemas.microsoft.com/office/powerpoint/2010/main" val="3861253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FB22713-E19A-99AB-A4C6-F7F782B1E9F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D929DF-F63F-F0C3-0FD8-2CA22E154BAE}"/>
              </a:ext>
            </a:extLst>
          </p:cNvPr>
          <p:cNvSpPr>
            <a:spLocks noGrp="1"/>
          </p:cNvSpPr>
          <p:nvPr>
            <p:ph type="title"/>
          </p:nvPr>
        </p:nvSpPr>
        <p:spPr/>
        <p:txBody>
          <a:bodyPr vert="horz"/>
          <a:lstStyle/>
          <a:p>
            <a:r>
              <a:rPr lang="de-CH" dirty="0" err="1"/>
              <a:t>Ecosystem</a:t>
            </a:r>
            <a:r>
              <a:rPr lang="de-CH" dirty="0"/>
              <a:t> </a:t>
            </a:r>
            <a:r>
              <a:rPr lang="de-CH" dirty="0" err="1"/>
              <a:t>services</a:t>
            </a:r>
            <a:r>
              <a:rPr lang="de-CH" dirty="0"/>
              <a:t> </a:t>
            </a:r>
            <a:r>
              <a:rPr lang="de-CH" dirty="0" err="1"/>
              <a:t>of</a:t>
            </a:r>
            <a:r>
              <a:rPr lang="de-CH" dirty="0"/>
              <a:t> </a:t>
            </a:r>
            <a:r>
              <a:rPr lang="de-CH" dirty="0" err="1"/>
              <a:t>forests</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D1305009-2128-615D-7DC1-F69780E380C5}"/>
              </a:ext>
            </a:extLst>
          </p:cNvPr>
          <p:cNvSpPr>
            <a:spLocks noGrp="1"/>
          </p:cNvSpPr>
          <p:nvPr>
            <p:ph type="body" sz="quarter" idx="13"/>
          </p:nvPr>
        </p:nvSpPr>
        <p:spPr/>
        <p:txBody>
          <a:bodyPr/>
          <a:lstStyle/>
          <a:p>
            <a:pPr marL="0" indent="0">
              <a:buNone/>
            </a:pPr>
            <a:r>
              <a:rPr lang="en-US" b="1" dirty="0"/>
              <a:t>Important information for forest development</a:t>
            </a:r>
          </a:p>
          <a:p>
            <a:pPr marL="0" indent="0">
              <a:buNone/>
            </a:pPr>
            <a:r>
              <a:rPr lang="en-US" dirty="0"/>
              <a:t>A statistical method was developed that makes it possible to extrapolate entire forest stands from small-scale sample plot data, regardless of their spatial scale. This now allows stand-level models—such as </a:t>
            </a:r>
            <a:r>
              <a:rPr lang="en-US" dirty="0" err="1"/>
              <a:t>SwissStandSim</a:t>
            </a:r>
            <a:r>
              <a:rPr lang="en-US" dirty="0"/>
              <a:t>—to be supplied with the necessary information. Through studies on tree mortality, we were also able to improve the description of empirical dieback processes, thereby significantly advancing the modeling of forest development across Switzerland.</a:t>
            </a:r>
          </a:p>
          <a:p>
            <a:endParaRPr lang="de-CH" dirty="0"/>
          </a:p>
        </p:txBody>
      </p:sp>
      <p:sp>
        <p:nvSpPr>
          <p:cNvPr id="4" name="Slide Number Placeholder 3">
            <a:extLst>
              <a:ext uri="{FF2B5EF4-FFF2-40B4-BE49-F238E27FC236}">
                <a16:creationId xmlns:a16="http://schemas.microsoft.com/office/drawing/2014/main" id="{30CCA3F6-524E-A3AD-2ED7-9AAA0EBD2083}"/>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1F39F3FE-A63E-EFF9-5D5C-4E9B4D3BBF9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073815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14B5F-49DE-A6D6-6759-8CA200C7D6A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9CC67-F066-11D9-E3F6-E8AEEC1BBDB6}"/>
              </a:ext>
            </a:extLst>
          </p:cNvPr>
          <p:cNvGraphicFramePr>
            <a:graphicFrameLocks noChangeAspect="1"/>
          </p:cNvGraphicFramePr>
          <p:nvPr>
            <p:custDataLst>
              <p:tags r:id="rId1"/>
            </p:custDataLst>
            <p:extLst>
              <p:ext uri="{D42A27DB-BD31-4B8C-83A1-F6EECF244321}">
                <p14:modId xmlns:p14="http://schemas.microsoft.com/office/powerpoint/2010/main" val="2272280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9A9CC67-F066-11D9-E3F6-E8AEEC1BBDB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60BA8-BF59-114A-76A0-678EC4A85B2A}"/>
              </a:ext>
            </a:extLst>
          </p:cNvPr>
          <p:cNvSpPr>
            <a:spLocks noGrp="1"/>
          </p:cNvSpPr>
          <p:nvPr>
            <p:ph type="title"/>
          </p:nvPr>
        </p:nvSpPr>
        <p:spPr/>
        <p:txBody>
          <a:bodyPr vert="horz"/>
          <a:lstStyle/>
          <a:p>
            <a:r>
              <a:rPr lang="de-CH" dirty="0" err="1"/>
              <a:t>Ecosystem</a:t>
            </a:r>
            <a:r>
              <a:rPr lang="de-CH" dirty="0"/>
              <a:t> </a:t>
            </a:r>
            <a:r>
              <a:rPr lang="de-CH" dirty="0" err="1"/>
              <a:t>services</a:t>
            </a:r>
            <a:r>
              <a:rPr lang="de-CH" dirty="0"/>
              <a:t> </a:t>
            </a:r>
            <a:r>
              <a:rPr lang="de-CH" dirty="0" err="1"/>
              <a:t>of</a:t>
            </a:r>
            <a:r>
              <a:rPr lang="de-CH" dirty="0"/>
              <a:t> </a:t>
            </a:r>
            <a:r>
              <a:rPr lang="de-CH" dirty="0" err="1"/>
              <a:t>forests</a:t>
            </a:r>
            <a:r>
              <a:rPr lang="de-CH" dirty="0"/>
              <a:t> – </a:t>
            </a:r>
            <a:r>
              <a:rPr lang="de-CH" dirty="0" err="1"/>
              <a:t>Results</a:t>
            </a:r>
            <a:r>
              <a:rPr lang="de-CH" dirty="0"/>
              <a:t> II</a:t>
            </a:r>
          </a:p>
        </p:txBody>
      </p:sp>
      <p:sp>
        <p:nvSpPr>
          <p:cNvPr id="3" name="Text Placeholder 2">
            <a:extLst>
              <a:ext uri="{FF2B5EF4-FFF2-40B4-BE49-F238E27FC236}">
                <a16:creationId xmlns:a16="http://schemas.microsoft.com/office/drawing/2014/main" id="{46896C28-7E74-917C-CD25-AF456CA4CE29}"/>
              </a:ext>
            </a:extLst>
          </p:cNvPr>
          <p:cNvSpPr>
            <a:spLocks noGrp="1"/>
          </p:cNvSpPr>
          <p:nvPr>
            <p:ph type="body" sz="quarter" idx="13"/>
          </p:nvPr>
        </p:nvSpPr>
        <p:spPr/>
        <p:txBody>
          <a:bodyPr/>
          <a:lstStyle/>
          <a:p>
            <a:pPr marL="0" indent="0">
              <a:lnSpc>
                <a:spcPct val="100000"/>
              </a:lnSpc>
              <a:buNone/>
              <a:tabLst>
                <a:tab pos="1255713" algn="l"/>
              </a:tabLst>
            </a:pPr>
            <a:r>
              <a:rPr lang="en-US" b="1" dirty="0"/>
              <a:t>Decision-support prototypes for Swiss forest management</a:t>
            </a:r>
          </a:p>
          <a:p>
            <a:pPr marL="0" indent="0">
              <a:lnSpc>
                <a:spcPct val="100000"/>
              </a:lnSpc>
              <a:buNone/>
              <a:tabLst>
                <a:tab pos="1255713" algn="l"/>
              </a:tabLst>
            </a:pPr>
            <a:r>
              <a:rPr lang="en-US" dirty="0"/>
              <a:t>Using the developed decision-support prototype, three simulations were carried out for forest enterprises up to the year 2060. Two enterprises are located in the Swiss Plateau, and one in the Pre-Alps. All simulations were run under the current climate as well as under three future climate scenarios: “wet,” “medium,” and “dry.” For the two Plateau enterprises, timber yield and biodiversity and recreational quality were set as the main ecosystem-service objectives; for the enterprise in the Pre-Alps, the protective function was prioritized. It emerged that two of the enterprises are already applying a form of management that achieves the highest overall benefit today. This shows that forest management in the studied enterprises is already very sustainable. The analysis also showed that, for all enterprises, a complete abandonment of timber harvesting would be the option with the lowest overall benefit. The decision-support tool currently exists only as a prototype. To make it user-friendly and accessible to everyone, a graphical user interface is needed, and the adaptation of the model to new stands must be simplified and simulation times optimized.</a:t>
            </a:r>
            <a:endParaRPr lang="de-CH" dirty="0"/>
          </a:p>
        </p:txBody>
      </p:sp>
      <p:sp>
        <p:nvSpPr>
          <p:cNvPr id="4" name="Slide Number Placeholder 3">
            <a:extLst>
              <a:ext uri="{FF2B5EF4-FFF2-40B4-BE49-F238E27FC236}">
                <a16:creationId xmlns:a16="http://schemas.microsoft.com/office/drawing/2014/main" id="{89B4F7F8-5692-B55F-4900-D236C014DF22}"/>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8F1B4D4C-56A2-DA48-F165-4E94501052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503738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850AAD4-B9E2-EA00-7887-344475BC1768}"/>
              </a:ext>
            </a:extLst>
          </p:cNvPr>
          <p:cNvPicPr>
            <a:picLocks noChangeAspect="1"/>
          </p:cNvPicPr>
          <p:nvPr/>
        </p:nvPicPr>
        <p:blipFill>
          <a:blip r:embed="rId2"/>
          <a:stretch>
            <a:fillRect/>
          </a:stretch>
        </p:blipFill>
        <p:spPr>
          <a:xfrm>
            <a:off x="479425" y="1723819"/>
            <a:ext cx="7624667" cy="3969435"/>
          </a:xfrm>
          <a:prstGeom prst="rect">
            <a:avLst/>
          </a:prstGeom>
        </p:spPr>
      </p:pic>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p:txBody>
          <a:bodyPr/>
          <a:lstStyle/>
          <a:p>
            <a:r>
              <a:rPr lang="en-US" dirty="0"/>
              <a:t>Ecosystem services of forests – Overall performance</a:t>
            </a:r>
            <a:endParaRPr lang="de-CH" dirty="0"/>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7" name="Content Placeholder 2">
            <a:extLst>
              <a:ext uri="{FF2B5EF4-FFF2-40B4-BE49-F238E27FC236}">
                <a16:creationId xmlns:a16="http://schemas.microsoft.com/office/drawing/2014/main" id="{313A9575-88C4-C0E7-AFC4-BB71A4D869F3}"/>
              </a:ext>
            </a:extLst>
          </p:cNvPr>
          <p:cNvSpPr txBox="1">
            <a:spLocks/>
          </p:cNvSpPr>
          <p:nvPr/>
        </p:nvSpPr>
        <p:spPr>
          <a:xfrm>
            <a:off x="6059341" y="1923054"/>
            <a:ext cx="5653234" cy="1474307"/>
          </a:xfrm>
          <a:prstGeom prst="rect">
            <a:avLst/>
          </a:prstGeom>
        </p:spPr>
        <p:txBody>
          <a:bodyPr>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verall performance of all forest ecosystem services and biodiversity indicators in three forest enterprises under current and future climate-change scenarios.</a:t>
            </a:r>
            <a:endParaRPr lang="de-CH" sz="2000" dirty="0"/>
          </a:p>
        </p:txBody>
      </p:sp>
      <p:sp>
        <p:nvSpPr>
          <p:cNvPr id="3" name="TextBox 2">
            <a:extLst>
              <a:ext uri="{FF2B5EF4-FFF2-40B4-BE49-F238E27FC236}">
                <a16:creationId xmlns:a16="http://schemas.microsoft.com/office/drawing/2014/main" id="{6DF64A07-78C7-E739-5166-95E11FF218C3}"/>
              </a:ext>
            </a:extLst>
          </p:cNvPr>
          <p:cNvSpPr txBox="1"/>
          <p:nvPr/>
        </p:nvSpPr>
        <p:spPr>
          <a:xfrm>
            <a:off x="479425" y="5998313"/>
            <a:ext cx="6072222" cy="184474"/>
          </a:xfrm>
          <a:prstGeom prst="rect">
            <a:avLst/>
          </a:prstGeom>
          <a:noFill/>
        </p:spPr>
        <p:txBody>
          <a:bodyPr wrap="square" lIns="0" tIns="0" rIns="0" bIns="0" rtlCol="0">
            <a:spAutoFit/>
          </a:bodyPr>
          <a:lstStyle/>
          <a:p>
            <a:pPr>
              <a:lnSpc>
                <a:spcPct val="120000"/>
              </a:lnSpc>
            </a:pPr>
            <a:r>
              <a:rPr lang="de-CH" sz="1100" dirty="0"/>
              <a:t>https://nfp73.ch/download/60/230224_SNF_NFP73_PB_MAFES_EN.pdf?inline=true</a:t>
            </a:r>
          </a:p>
        </p:txBody>
      </p:sp>
      <p:sp>
        <p:nvSpPr>
          <p:cNvPr id="8" name="Title 1">
            <a:extLst>
              <a:ext uri="{FF2B5EF4-FFF2-40B4-BE49-F238E27FC236}">
                <a16:creationId xmlns:a16="http://schemas.microsoft.com/office/drawing/2014/main" id="{561A0ABE-4703-EC78-C699-C3A30CE3AC9B}"/>
              </a:ext>
            </a:extLst>
          </p:cNvPr>
          <p:cNvSpPr txBox="1">
            <a:spLocks/>
          </p:cNvSpPr>
          <p:nvPr/>
        </p:nvSpPr>
        <p:spPr>
          <a:xfrm>
            <a:off x="9013033" y="3580971"/>
            <a:ext cx="2699542" cy="2475614"/>
          </a:xfrm>
          <a:prstGeom prst="rect">
            <a:avLst/>
          </a:prstGeom>
        </p:spPr>
        <p:txBody>
          <a:bodyPr vert="horz" lIns="0" tIns="18000" rIns="0" bIns="0" rtlCol="0" anchor="t" anchorCtr="0">
            <a:normAutofit/>
          </a:bodyPr>
          <a:lstStyle>
            <a:lvl1pPr algn="l" defTabSz="914400" rtl="0" eaLnBrk="1" latinLnBrk="0" hangingPunct="1">
              <a:lnSpc>
                <a:spcPct val="90000"/>
              </a:lnSpc>
              <a:spcBef>
                <a:spcPct val="0"/>
              </a:spcBef>
              <a:buNone/>
              <a:defRPr sz="3700" kern="1200">
                <a:solidFill>
                  <a:schemeClr val="tx1"/>
                </a:solidFill>
                <a:latin typeface="+mj-lt"/>
                <a:ea typeface="+mj-ea"/>
                <a:cs typeface="+mj-cs"/>
              </a:defRPr>
            </a:lvl1pPr>
          </a:lstStyle>
          <a:p>
            <a:br>
              <a:rPr lang="de-CH" sz="1800" dirty="0">
                <a:latin typeface="Arial" panose="020B0604020202020204" pitchFamily="34" charset="0"/>
                <a:cs typeface="Arial" panose="020B0604020202020204" pitchFamily="34" charset="0"/>
              </a:rPr>
            </a:br>
            <a:r>
              <a:rPr lang="en-US" sz="1400" b="1" dirty="0"/>
              <a:t>Management strategies: </a:t>
            </a:r>
            <a:r>
              <a:rPr lang="en-US" sz="1400" dirty="0"/>
              <a:t>none (NO), reduced (LOW), unchanged (BAU), or intensified management (HIGH)</a:t>
            </a:r>
          </a:p>
          <a:p>
            <a:endParaRPr lang="en-US" sz="1400" dirty="0"/>
          </a:p>
          <a:p>
            <a:r>
              <a:rPr lang="en-US" sz="1400" b="1" dirty="0"/>
              <a:t>Sites: </a:t>
            </a:r>
            <a:r>
              <a:rPr lang="en-US" sz="1400" dirty="0" err="1"/>
              <a:t>Wagenrain</a:t>
            </a:r>
            <a:r>
              <a:rPr lang="en-US" sz="1400" dirty="0"/>
              <a:t> (WAG), </a:t>
            </a:r>
            <a:r>
              <a:rPr lang="en-US" sz="1400" dirty="0" err="1"/>
              <a:t>Bülach</a:t>
            </a:r>
            <a:r>
              <a:rPr lang="en-US" sz="1400" dirty="0"/>
              <a:t> (BUE), and </a:t>
            </a:r>
            <a:r>
              <a:rPr lang="en-US" sz="1400" dirty="0" err="1"/>
              <a:t>Gottschalkenberg</a:t>
            </a:r>
            <a:r>
              <a:rPr lang="en-US" sz="1400" dirty="0"/>
              <a:t> (GOT)</a:t>
            </a:r>
          </a:p>
          <a:p>
            <a:endParaRPr lang="de-CH"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8738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1E75-8243-ACCF-60B3-EFA2690DED92}"/>
              </a:ext>
            </a:extLst>
          </p:cNvPr>
          <p:cNvSpPr>
            <a:spLocks noGrp="1"/>
          </p:cNvSpPr>
          <p:nvPr>
            <p:ph type="title"/>
          </p:nvPr>
        </p:nvSpPr>
        <p:spPr/>
        <p:txBody>
          <a:bodyPr/>
          <a:lstStyle/>
          <a:p>
            <a:r>
              <a:rPr lang="de-CH" dirty="0"/>
              <a:t>Trade-offs in Forests</a:t>
            </a:r>
          </a:p>
        </p:txBody>
      </p:sp>
      <p:sp>
        <p:nvSpPr>
          <p:cNvPr id="3" name="Text Placeholder 2">
            <a:extLst>
              <a:ext uri="{FF2B5EF4-FFF2-40B4-BE49-F238E27FC236}">
                <a16:creationId xmlns:a16="http://schemas.microsoft.com/office/drawing/2014/main" id="{74030D23-D6BA-C329-0F31-2E0A19A928AF}"/>
              </a:ext>
            </a:extLst>
          </p:cNvPr>
          <p:cNvSpPr>
            <a:spLocks noGrp="1"/>
          </p:cNvSpPr>
          <p:nvPr>
            <p:ph type="body" sz="quarter" idx="13"/>
          </p:nvPr>
        </p:nvSpPr>
        <p:spPr>
          <a:xfrm>
            <a:off x="479425" y="1808164"/>
            <a:ext cx="4572000" cy="3810438"/>
          </a:xfrm>
        </p:spPr>
        <p:txBody>
          <a:bodyPr/>
          <a:lstStyle/>
          <a:p>
            <a:pPr marL="0" indent="0">
              <a:buNone/>
            </a:pPr>
            <a:r>
              <a:rPr lang="en-US" dirty="0">
                <a:ea typeface="Open Sans" panose="020B0606030504020204" pitchFamily="34" charset="0"/>
                <a:cs typeface="Open Sans" panose="020B0606030504020204" pitchFamily="34" charset="0"/>
              </a:rPr>
              <a:t>“During the transition toward greater sustainability, forests come under pressure because they are expected, for example, to compensate for environmental obligations not met by other sectors. The resulting trade-offs force forestry to balance competing demands. We describe policy solutions for two examples: carbon sequestration and forest clearing for compensation purposes.”</a:t>
            </a:r>
          </a:p>
          <a:p>
            <a:pPr marL="0" indent="0">
              <a:buNone/>
            </a:pPr>
            <a:endParaRPr lang="en-US" dirty="0">
              <a:ea typeface="Open Sans" panose="020B0606030504020204" pitchFamily="34" charset="0"/>
              <a:cs typeface="Open Sans" panose="020B0606030504020204" pitchFamily="34" charset="0"/>
            </a:endParaRPr>
          </a:p>
          <a:p>
            <a:pPr marL="0" indent="0">
              <a:buNone/>
            </a:pPr>
            <a:r>
              <a:rPr lang="de-CH" dirty="0">
                <a:ea typeface="Open Sans" panose="020B0606030504020204" pitchFamily="34" charset="0"/>
                <a:cs typeface="Open Sans" panose="020B0606030504020204" pitchFamily="34" charset="0"/>
              </a:rPr>
              <a:t>Dr. Tobias Schulz, Project </a:t>
            </a:r>
            <a:r>
              <a:rPr lang="de-CH" dirty="0" err="1">
                <a:ea typeface="Open Sans" panose="020B0606030504020204" pitchFamily="34" charset="0"/>
                <a:cs typeface="Open Sans" panose="020B0606030504020204" pitchFamily="34" charset="0"/>
              </a:rPr>
              <a:t>lead</a:t>
            </a:r>
            <a:r>
              <a:rPr lang="de-CH" dirty="0">
                <a:ea typeface="Open Sans" panose="020B0606030504020204" pitchFamily="34" charset="0"/>
                <a:cs typeface="Open Sans" panose="020B0606030504020204" pitchFamily="34" charset="0"/>
              </a:rPr>
              <a:t>,</a:t>
            </a:r>
            <a:r>
              <a:rPr lang="de-CH" dirty="0"/>
              <a:t> Trade-offs in Forests</a:t>
            </a:r>
            <a:endParaRPr lang="de-CH" dirty="0">
              <a:ea typeface="Open Sans" panose="020B0606030504020204" pitchFamily="34" charset="0"/>
              <a:cs typeface="Open Sans" panose="020B0606030504020204" pitchFamily="34" charset="0"/>
            </a:endParaRPr>
          </a:p>
          <a:p>
            <a:pPr marL="0" indent="0">
              <a:buNone/>
            </a:pPr>
            <a:endParaRPr lang="de-CH" dirty="0">
              <a:ea typeface="Open Sans" panose="020B0606030504020204" pitchFamily="34" charset="0"/>
              <a:cs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CBFB056A-DB9A-2A13-3E3B-8EE289AE32A5}"/>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AD0B8DF0-6601-F88B-C61C-CA80C8B2A7E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large stack of cut wood&#10;&#10;AI-generated content may be incorrect.">
            <a:extLst>
              <a:ext uri="{FF2B5EF4-FFF2-40B4-BE49-F238E27FC236}">
                <a16:creationId xmlns:a16="http://schemas.microsoft.com/office/drawing/2014/main" id="{40EF268E-1696-FDB8-BA0C-895E2F2687A0}"/>
              </a:ext>
            </a:extLst>
          </p:cNvPr>
          <p:cNvPicPr>
            <a:picLocks noChangeAspect="1"/>
          </p:cNvPicPr>
          <p:nvPr/>
        </p:nvPicPr>
        <p:blipFill>
          <a:blip r:embed="rId2">
            <a:extLst>
              <a:ext uri="{28A0092B-C50C-407E-A947-70E740481C1C}">
                <a14:useLocalDpi xmlns:a14="http://schemas.microsoft.com/office/drawing/2010/main" val="0"/>
              </a:ext>
            </a:extLst>
          </a:blip>
          <a:srcRect t="-1618"/>
          <a:stretch>
            <a:fillRect/>
          </a:stretch>
        </p:blipFill>
        <p:spPr>
          <a:xfrm>
            <a:off x="5640355" y="1740023"/>
            <a:ext cx="6551645" cy="4281365"/>
          </a:xfrm>
          <a:prstGeom prst="rect">
            <a:avLst/>
          </a:prstGeom>
        </p:spPr>
      </p:pic>
    </p:spTree>
    <p:extLst>
      <p:ext uri="{BB962C8B-B14F-4D97-AF65-F5344CB8AC3E}">
        <p14:creationId xmlns:p14="http://schemas.microsoft.com/office/powerpoint/2010/main" val="790320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229876-A088-8AA1-F92F-1479EDD00174}"/>
              </a:ext>
            </a:extLst>
          </p:cNvPr>
          <p:cNvGraphicFramePr>
            <a:graphicFrameLocks noChangeAspect="1"/>
          </p:cNvGraphicFramePr>
          <p:nvPr>
            <p:custDataLst>
              <p:tags r:id="rId1"/>
            </p:custDataLst>
            <p:extLst>
              <p:ext uri="{D42A27DB-BD31-4B8C-83A1-F6EECF244321}">
                <p14:modId xmlns:p14="http://schemas.microsoft.com/office/powerpoint/2010/main" val="17067916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D229876-A088-8AA1-F92F-1479EDD0017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9DD95-1037-8915-49C6-A6C150FE2AFD}"/>
              </a:ext>
            </a:extLst>
          </p:cNvPr>
          <p:cNvSpPr>
            <a:spLocks noGrp="1"/>
          </p:cNvSpPr>
          <p:nvPr>
            <p:ph type="title"/>
          </p:nvPr>
        </p:nvSpPr>
        <p:spPr/>
        <p:txBody>
          <a:bodyPr vert="horz"/>
          <a:lstStyle/>
          <a:p>
            <a:r>
              <a:rPr lang="de-CH" dirty="0"/>
              <a:t>Trade-offs in Forests – </a:t>
            </a:r>
            <a:r>
              <a:rPr lang="de-CH" dirty="0" err="1"/>
              <a:t>Assignments</a:t>
            </a:r>
            <a:endParaRPr lang="de-CH" dirty="0"/>
          </a:p>
        </p:txBody>
      </p:sp>
      <p:sp>
        <p:nvSpPr>
          <p:cNvPr id="3" name="Text Placeholder 2">
            <a:extLst>
              <a:ext uri="{FF2B5EF4-FFF2-40B4-BE49-F238E27FC236}">
                <a16:creationId xmlns:a16="http://schemas.microsoft.com/office/drawing/2014/main" id="{A570AF8C-4C13-9B5C-1AF8-983FF4694F0A}"/>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Explain why forests are increasingly coming under pressure today.</a:t>
            </a:r>
          </a:p>
          <a:p>
            <a:pPr marL="457200" indent="-457200">
              <a:lnSpc>
                <a:spcPct val="107000"/>
              </a:lnSpc>
              <a:spcAft>
                <a:spcPts val="400"/>
              </a:spcAft>
              <a:buFont typeface="+mj-lt"/>
              <a:buAutoNum type="arabicPeriod"/>
            </a:pPr>
            <a:r>
              <a:rPr lang="en-US" dirty="0"/>
              <a:t>Name important trade-offs and describe how they can be mitigated.</a:t>
            </a:r>
          </a:p>
          <a:p>
            <a:pPr marL="457200" indent="-457200">
              <a:lnSpc>
                <a:spcPct val="107000"/>
              </a:lnSpc>
              <a:spcAft>
                <a:spcPts val="400"/>
              </a:spcAft>
              <a:buFont typeface="+mj-lt"/>
              <a:buAutoNum type="arabicPeriod"/>
            </a:pPr>
            <a:r>
              <a:rPr lang="en-US" dirty="0"/>
              <a:t>Explain: What is a decision-support system, and what do forest and wood carbon sinks mean?</a:t>
            </a:r>
          </a:p>
          <a:p>
            <a:pPr marL="0" indent="0">
              <a:lnSpc>
                <a:spcPct val="107000"/>
              </a:lnSpc>
              <a:spcAft>
                <a:spcPts val="400"/>
              </a:spcAft>
              <a:buNone/>
            </a:pPr>
            <a:endParaRPr lang="de-CH" sz="1800"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buNone/>
            </a:pPr>
            <a:r>
              <a:rPr lang="de-CH" dirty="0">
                <a:hlinkClick r:id="rId5"/>
              </a:rPr>
              <a:t>Trade-offs in </a:t>
            </a:r>
            <a:r>
              <a:rPr lang="de-CH" dirty="0" err="1">
                <a:hlinkClick r:id="rId5"/>
              </a:rPr>
              <a:t>forests</a:t>
            </a:r>
            <a:r>
              <a:rPr lang="de-CH" dirty="0">
                <a:hlinkClick r:id="rId5"/>
              </a:rPr>
              <a:t> </a:t>
            </a:r>
            <a:r>
              <a:rPr lang="de-CH" dirty="0"/>
              <a:t>(Website NPF 73)</a:t>
            </a:r>
          </a:p>
          <a:p>
            <a:pPr marL="0" indent="0">
              <a:lnSpc>
                <a:spcPct val="107000"/>
              </a:lnSpc>
              <a:spcAft>
                <a:spcPts val="400"/>
              </a:spcAft>
              <a:buNone/>
            </a:pPr>
            <a:r>
              <a:rPr lang="de-CH" dirty="0">
                <a:hlinkClick r:id="rId6"/>
              </a:rPr>
              <a:t>Mainstreaming Forest </a:t>
            </a:r>
            <a:r>
              <a:rPr lang="de-CH" dirty="0" err="1">
                <a:hlinkClick r:id="rId6"/>
              </a:rPr>
              <a:t>Ecosystem</a:t>
            </a:r>
            <a:r>
              <a:rPr lang="de-CH" dirty="0">
                <a:hlinkClick r:id="rId6"/>
              </a:rPr>
              <a:t> Services </a:t>
            </a:r>
            <a:r>
              <a:rPr lang="de-CH" dirty="0"/>
              <a:t>(</a:t>
            </a:r>
            <a:r>
              <a:rPr lang="de-CH" dirty="0" err="1"/>
              <a:t>thematic</a:t>
            </a:r>
            <a:r>
              <a:rPr lang="de-CH" dirty="0"/>
              <a:t> </a:t>
            </a:r>
            <a:r>
              <a:rPr lang="de-CH" dirty="0" err="1"/>
              <a:t>synthesis</a:t>
            </a:r>
            <a:r>
              <a:rPr lang="de-CH" dirty="0"/>
              <a:t>)</a:t>
            </a:r>
          </a:p>
          <a:p>
            <a:endParaRPr lang="de-CH" dirty="0"/>
          </a:p>
        </p:txBody>
      </p:sp>
      <p:sp>
        <p:nvSpPr>
          <p:cNvPr id="4" name="Slide Number Placeholder 3">
            <a:extLst>
              <a:ext uri="{FF2B5EF4-FFF2-40B4-BE49-F238E27FC236}">
                <a16:creationId xmlns:a16="http://schemas.microsoft.com/office/drawing/2014/main" id="{8E356437-3BD3-8D18-7BC0-72AA69035E24}"/>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AA4EC1D8-B4BC-DBEF-D00D-5540E6140B2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07830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Forest Management</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808163"/>
            <a:ext cx="5921375" cy="4213225"/>
          </a:xfrm>
        </p:spPr>
        <p:txBody>
          <a:bodyPr/>
          <a:lstStyle/>
          <a:p>
            <a:pPr marL="0" indent="0">
              <a:buNone/>
            </a:pPr>
            <a:r>
              <a:rPr lang="en-US" dirty="0"/>
              <a:t>“Forests provide a wide range of forest ecosystem services, but there is still a lack of knowledge about the synergies and trade-offs between these services. With the transition to a sustainable economy, existing trade-offs are being intensified and new ones created. What is important is ‘mainstreaming’ across all sectors and levels of decision-making.”</a:t>
            </a:r>
          </a:p>
          <a:p>
            <a:pPr marL="0" indent="0">
              <a:buNone/>
            </a:pPr>
            <a:endParaRPr lang="en-US" sz="1800" dirty="0"/>
          </a:p>
          <a:p>
            <a:pPr marL="0" indent="0">
              <a:buNone/>
            </a:pPr>
            <a:r>
              <a:rPr lang="de-CH" sz="1800" dirty="0"/>
              <a:t>NFP 73, </a:t>
            </a:r>
            <a:r>
              <a:rPr lang="de-CH" sz="1800" dirty="0" err="1"/>
              <a:t>Forestry</a:t>
            </a:r>
            <a:endParaRPr lang="de-CH" sz="1800"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6" name="Picture 5" descr="A large stack of cut wood&#10;&#10;AI-generated content may be incorrect.">
            <a:extLst>
              <a:ext uri="{FF2B5EF4-FFF2-40B4-BE49-F238E27FC236}">
                <a16:creationId xmlns:a16="http://schemas.microsoft.com/office/drawing/2014/main" id="{278BC7D5-1A7D-3EBA-38DC-7DAA4699BEE8}"/>
              </a:ext>
            </a:extLst>
          </p:cNvPr>
          <p:cNvPicPr>
            <a:picLocks noChangeAspect="1"/>
          </p:cNvPicPr>
          <p:nvPr/>
        </p:nvPicPr>
        <p:blipFill>
          <a:blip r:embed="rId2">
            <a:extLst>
              <a:ext uri="{28A0092B-C50C-407E-A947-70E740481C1C}">
                <a14:useLocalDpi xmlns:a14="http://schemas.microsoft.com/office/drawing/2010/main" val="0"/>
              </a:ext>
            </a:extLst>
          </a:blip>
          <a:srcRect l="49954"/>
          <a:stretch>
            <a:fillRect/>
          </a:stretch>
        </p:blipFill>
        <p:spPr>
          <a:xfrm>
            <a:off x="7041153" y="0"/>
            <a:ext cx="5150847" cy="6858000"/>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ED147E-4170-BF8A-A935-CA6D6EAD6901}"/>
              </a:ext>
            </a:extLst>
          </p:cNvPr>
          <p:cNvGraphicFramePr>
            <a:graphicFrameLocks noChangeAspect="1"/>
          </p:cNvGraphicFramePr>
          <p:nvPr>
            <p:custDataLst>
              <p:tags r:id="rId1"/>
            </p:custDataLst>
            <p:extLst>
              <p:ext uri="{D42A27DB-BD31-4B8C-83A1-F6EECF244321}">
                <p14:modId xmlns:p14="http://schemas.microsoft.com/office/powerpoint/2010/main" val="501221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1ED147E-4170-BF8A-A935-CA6D6EAD69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B1A7FF-72D9-84DF-E4FB-945702097B22}"/>
              </a:ext>
            </a:extLst>
          </p:cNvPr>
          <p:cNvSpPr>
            <a:spLocks noGrp="1"/>
          </p:cNvSpPr>
          <p:nvPr>
            <p:ph type="title"/>
          </p:nvPr>
        </p:nvSpPr>
        <p:spPr/>
        <p:txBody>
          <a:bodyPr vert="horz"/>
          <a:lstStyle/>
          <a:p>
            <a:r>
              <a:rPr lang="de-CH" dirty="0"/>
              <a:t>Trade-offs in Forests – Background</a:t>
            </a:r>
            <a:br>
              <a:rPr lang="de-CH" dirty="0"/>
            </a:br>
            <a:endParaRPr lang="de-CH" dirty="0"/>
          </a:p>
        </p:txBody>
      </p:sp>
      <p:sp>
        <p:nvSpPr>
          <p:cNvPr id="3" name="Slide Number Placeholder 2">
            <a:extLst>
              <a:ext uri="{FF2B5EF4-FFF2-40B4-BE49-F238E27FC236}">
                <a16:creationId xmlns:a16="http://schemas.microsoft.com/office/drawing/2014/main" id="{A7AB7B10-82FF-1689-FEBA-800F9BBFCEFC}"/>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4" name="Text Placeholder 3">
            <a:extLst>
              <a:ext uri="{FF2B5EF4-FFF2-40B4-BE49-F238E27FC236}">
                <a16:creationId xmlns:a16="http://schemas.microsoft.com/office/drawing/2014/main" id="{9A8F4D42-19C9-1F87-48E4-F95774BC7226}"/>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C56B828-D931-E430-E054-316ABA9AF146}"/>
              </a:ext>
            </a:extLst>
          </p:cNvPr>
          <p:cNvSpPr>
            <a:spLocks noGrp="1"/>
          </p:cNvSpPr>
          <p:nvPr>
            <p:ph type="body" sz="quarter" idx="13"/>
          </p:nvPr>
        </p:nvSpPr>
        <p:spPr>
          <a:xfrm>
            <a:off x="479426" y="2565400"/>
            <a:ext cx="10607674" cy="3455988"/>
          </a:xfrm>
        </p:spPr>
        <p:txBody>
          <a:bodyPr/>
          <a:lstStyle/>
          <a:p>
            <a:r>
              <a:rPr lang="en-US" dirty="0"/>
              <a:t>Economic sectors that are increasingly oriented toward sustainability are competing more and more for scarce land, thereby increasing pressure on forests. While the growing “bioeconomy” on the one hand represents an opportunity for the forestry sector, population growth and certain renewable-energy strategies on the other hand can lead to trade-offs and difficult choices that may increasingly come at the expense of forests in the future. These demands on current forest policy require an adaptation of the instruments available to address such trade-offs.</a:t>
            </a:r>
            <a:endParaRPr lang="de-CH" dirty="0"/>
          </a:p>
        </p:txBody>
      </p:sp>
      <p:sp>
        <p:nvSpPr>
          <p:cNvPr id="6" name="Text Placeholder 5">
            <a:extLst>
              <a:ext uri="{FF2B5EF4-FFF2-40B4-BE49-F238E27FC236}">
                <a16:creationId xmlns:a16="http://schemas.microsoft.com/office/drawing/2014/main" id="{96AA1E24-0851-9C36-48EF-CA92744A2472}"/>
              </a:ext>
            </a:extLst>
          </p:cNvPr>
          <p:cNvSpPr>
            <a:spLocks noGrp="1"/>
          </p:cNvSpPr>
          <p:nvPr>
            <p:ph type="body" sz="quarter" idx="12"/>
          </p:nvPr>
        </p:nvSpPr>
        <p:spPr>
          <a:xfrm>
            <a:off x="479423" y="1808163"/>
            <a:ext cx="11231253" cy="587375"/>
          </a:xfrm>
        </p:spPr>
        <p:txBody>
          <a:bodyPr/>
          <a:lstStyle/>
          <a:p>
            <a:r>
              <a:rPr lang="de-CH" dirty="0"/>
              <a:t>Background</a:t>
            </a:r>
          </a:p>
        </p:txBody>
      </p:sp>
      <p:sp>
        <p:nvSpPr>
          <p:cNvPr id="8" name="Footer Placeholder 7">
            <a:extLst>
              <a:ext uri="{FF2B5EF4-FFF2-40B4-BE49-F238E27FC236}">
                <a16:creationId xmlns:a16="http://schemas.microsoft.com/office/drawing/2014/main" id="{2B440AE4-E8AA-9D6C-7243-74EBFF2757F7}"/>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2823858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5D2AC-578D-3CFB-486D-674AC02241B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C1B5DD8-28FB-ACDA-98B9-B07E0F72DBC5}"/>
              </a:ext>
            </a:extLst>
          </p:cNvPr>
          <p:cNvGraphicFramePr>
            <a:graphicFrameLocks noChangeAspect="1"/>
          </p:cNvGraphicFramePr>
          <p:nvPr>
            <p:custDataLst>
              <p:tags r:id="rId1"/>
            </p:custDataLst>
            <p:extLst>
              <p:ext uri="{D42A27DB-BD31-4B8C-83A1-F6EECF244321}">
                <p14:modId xmlns:p14="http://schemas.microsoft.com/office/powerpoint/2010/main" val="2658083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C1B5DD8-28FB-ACDA-98B9-B07E0F72DBC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D62F23-AB71-4694-19FB-27C0A39B2CD5}"/>
              </a:ext>
            </a:extLst>
          </p:cNvPr>
          <p:cNvSpPr>
            <a:spLocks noGrp="1"/>
          </p:cNvSpPr>
          <p:nvPr>
            <p:ph type="title"/>
          </p:nvPr>
        </p:nvSpPr>
        <p:spPr/>
        <p:txBody>
          <a:bodyPr vert="horz"/>
          <a:lstStyle/>
          <a:p>
            <a:r>
              <a:rPr lang="de-CH" dirty="0"/>
              <a:t>Trade-offs in Forests – </a:t>
            </a:r>
            <a:r>
              <a:rPr lang="de-CH" dirty="0" err="1"/>
              <a:t>Aim</a:t>
            </a:r>
            <a:r>
              <a:rPr lang="de-CH" dirty="0"/>
              <a:t> </a:t>
            </a:r>
            <a:br>
              <a:rPr lang="de-CH" dirty="0"/>
            </a:br>
            <a:endParaRPr lang="de-CH" dirty="0"/>
          </a:p>
        </p:txBody>
      </p:sp>
      <p:sp>
        <p:nvSpPr>
          <p:cNvPr id="3" name="Slide Number Placeholder 2">
            <a:extLst>
              <a:ext uri="{FF2B5EF4-FFF2-40B4-BE49-F238E27FC236}">
                <a16:creationId xmlns:a16="http://schemas.microsoft.com/office/drawing/2014/main" id="{19E988B8-2E7D-05C7-1EA9-4716C41099ED}"/>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4" name="Text Placeholder 3">
            <a:extLst>
              <a:ext uri="{FF2B5EF4-FFF2-40B4-BE49-F238E27FC236}">
                <a16:creationId xmlns:a16="http://schemas.microsoft.com/office/drawing/2014/main" id="{49593EBA-8F2C-62E9-7F90-8ACCF8A018DF}"/>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ACFD87F-D54D-3AB2-F086-94AC1A6C99AE}"/>
              </a:ext>
            </a:extLst>
          </p:cNvPr>
          <p:cNvSpPr>
            <a:spLocks noGrp="1"/>
          </p:cNvSpPr>
          <p:nvPr>
            <p:ph type="body" sz="quarter" idx="13"/>
          </p:nvPr>
        </p:nvSpPr>
        <p:spPr>
          <a:xfrm>
            <a:off x="479426" y="2565400"/>
            <a:ext cx="10607674" cy="3455988"/>
          </a:xfrm>
        </p:spPr>
        <p:txBody>
          <a:bodyPr/>
          <a:lstStyle/>
          <a:p>
            <a:pPr marL="0" indent="0">
              <a:buNone/>
            </a:pPr>
            <a:r>
              <a:rPr lang="en-US" dirty="0"/>
              <a:t>With this project, we pursued the following objectives:</a:t>
            </a:r>
          </a:p>
          <a:p>
            <a:pPr marL="342900" indent="-342900">
              <a:buFont typeface="+mj-lt"/>
              <a:buAutoNum type="arabicPeriod"/>
            </a:pPr>
            <a:r>
              <a:rPr lang="en-US" dirty="0"/>
              <a:t>to identify newly emerging trade-offs between sectors in a sustainable economy from the perspective of the forestry sector, and to determine (market-based) policy instruments or combinations of instruments to address these conflicts;</a:t>
            </a:r>
          </a:p>
          <a:p>
            <a:pPr marL="342900" indent="-342900">
              <a:buFont typeface="+mj-lt"/>
              <a:buAutoNum type="arabicPeriod"/>
            </a:pPr>
            <a:r>
              <a:rPr lang="en-US" dirty="0"/>
              <a:t>to assess the political feasibility of these individual or combined instruments by examining their acceptance among stakeholders and actors in the respective case-study regions;</a:t>
            </a:r>
          </a:p>
          <a:p>
            <a:pPr marL="342900" indent="-342900">
              <a:buFont typeface="+mj-lt"/>
              <a:buAutoNum type="arabicPeriod"/>
            </a:pPr>
            <a:r>
              <a:rPr lang="en-US" dirty="0"/>
              <a:t>to forecast the impacts of the proposed individual or combined instruments using spatially explicit simulations.</a:t>
            </a:r>
          </a:p>
        </p:txBody>
      </p:sp>
      <p:sp>
        <p:nvSpPr>
          <p:cNvPr id="6" name="Text Placeholder 5">
            <a:extLst>
              <a:ext uri="{FF2B5EF4-FFF2-40B4-BE49-F238E27FC236}">
                <a16:creationId xmlns:a16="http://schemas.microsoft.com/office/drawing/2014/main" id="{9C76FCDF-0C11-FC27-2F04-22547061B8FF}"/>
              </a:ext>
            </a:extLst>
          </p:cNvPr>
          <p:cNvSpPr>
            <a:spLocks noGrp="1"/>
          </p:cNvSpPr>
          <p:nvPr>
            <p:ph type="body" sz="quarter" idx="12"/>
          </p:nvPr>
        </p:nvSpPr>
        <p:spPr>
          <a:xfrm>
            <a:off x="479423" y="1808163"/>
            <a:ext cx="11231253"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D41AE291-F808-BD4B-7366-D4CC0856ADDA}"/>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0285418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22E360-1194-E7E5-4E76-A17FAB5D87EF}"/>
              </a:ext>
            </a:extLst>
          </p:cNvPr>
          <p:cNvGraphicFramePr>
            <a:graphicFrameLocks noChangeAspect="1"/>
          </p:cNvGraphicFramePr>
          <p:nvPr>
            <p:custDataLst>
              <p:tags r:id="rId1"/>
            </p:custDataLst>
            <p:extLst>
              <p:ext uri="{D42A27DB-BD31-4B8C-83A1-F6EECF244321}">
                <p14:modId xmlns:p14="http://schemas.microsoft.com/office/powerpoint/2010/main" val="25988166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722E360-1194-E7E5-4E76-A17FAB5D87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B78DC0-FDEA-8D90-E3F2-83849794B60D}"/>
              </a:ext>
            </a:extLst>
          </p:cNvPr>
          <p:cNvSpPr>
            <a:spLocks noGrp="1"/>
          </p:cNvSpPr>
          <p:nvPr>
            <p:ph type="title"/>
          </p:nvPr>
        </p:nvSpPr>
        <p:spPr/>
        <p:txBody>
          <a:bodyPr vert="horz"/>
          <a:lstStyle/>
          <a:p>
            <a:r>
              <a:rPr lang="de-CH" dirty="0"/>
              <a:t>Trade-offs in Forests – </a:t>
            </a:r>
            <a:r>
              <a:rPr lang="de-CH" dirty="0" err="1"/>
              <a:t>Results</a:t>
            </a:r>
            <a:r>
              <a:rPr lang="de-CH" dirty="0"/>
              <a:t> I</a:t>
            </a:r>
          </a:p>
        </p:txBody>
      </p:sp>
      <p:sp>
        <p:nvSpPr>
          <p:cNvPr id="3" name="Text Placeholder 2">
            <a:extLst>
              <a:ext uri="{FF2B5EF4-FFF2-40B4-BE49-F238E27FC236}">
                <a16:creationId xmlns:a16="http://schemas.microsoft.com/office/drawing/2014/main" id="{FB28E3EB-655A-8ADC-A6DA-216CA54A15FF}"/>
              </a:ext>
            </a:extLst>
          </p:cNvPr>
          <p:cNvSpPr>
            <a:spLocks noGrp="1"/>
          </p:cNvSpPr>
          <p:nvPr>
            <p:ph type="body" sz="quarter" idx="13"/>
          </p:nvPr>
        </p:nvSpPr>
        <p:spPr/>
        <p:txBody>
          <a:bodyPr/>
          <a:lstStyle/>
          <a:p>
            <a:pPr marL="0" indent="0">
              <a:lnSpc>
                <a:spcPct val="100000"/>
              </a:lnSpc>
              <a:buNone/>
            </a:pPr>
            <a:r>
              <a:rPr lang="en-US" b="1" dirty="0"/>
              <a:t>Forests in competition with sustainable economic projects</a:t>
            </a:r>
          </a:p>
          <a:p>
            <a:pPr marL="0" indent="0">
              <a:lnSpc>
                <a:spcPct val="100000"/>
              </a:lnSpc>
              <a:buNone/>
            </a:pPr>
            <a:r>
              <a:rPr lang="en-US" dirty="0"/>
              <a:t>As the analysis of forest-clearing applications shows, sustainable economic sectors are competing for land use. In the Swiss Plateau and the Alpine region, forests are being cleared to make room for sustainable economic projects (e.g., energy production through geothermal, wind and hydropower, and biomass; infrastructure for “slow mobility” such as pedestrians and cyclists; and recycling), although their share is still relatively small. To what extent socio-economic factors are relevant in the choice of locations for clearings cannot be determined conclusively. Topographical factors and landscape structure are likely to be more decisive in this context. Our proposed concept for balancing interests distinguishes both between emerging and prevailing trade-offs and between trade-offs at the level of political programs and at the level of forest management.</a:t>
            </a:r>
            <a:endParaRPr lang="de-CH" dirty="0"/>
          </a:p>
        </p:txBody>
      </p:sp>
      <p:sp>
        <p:nvSpPr>
          <p:cNvPr id="4" name="Slide Number Placeholder 3">
            <a:extLst>
              <a:ext uri="{FF2B5EF4-FFF2-40B4-BE49-F238E27FC236}">
                <a16:creationId xmlns:a16="http://schemas.microsoft.com/office/drawing/2014/main" id="{C79B8BAC-A72D-B5DA-D26F-238533D3B450}"/>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FCAB67A2-3172-5C85-A56A-168C244AE72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815113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912FB-63E7-BCB0-3D0F-75A351A796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298CCF-1780-3D82-AE31-EB137E5F7ADC}"/>
              </a:ext>
            </a:extLst>
          </p:cNvPr>
          <p:cNvGraphicFramePr>
            <a:graphicFrameLocks noChangeAspect="1"/>
          </p:cNvGraphicFramePr>
          <p:nvPr>
            <p:custDataLst>
              <p:tags r:id="rId1"/>
            </p:custDataLst>
            <p:extLst>
              <p:ext uri="{D42A27DB-BD31-4B8C-83A1-F6EECF244321}">
                <p14:modId xmlns:p14="http://schemas.microsoft.com/office/powerpoint/2010/main" val="2189644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8298CCF-1780-3D82-AE31-EB137E5F7AD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625F1D-CFD3-7855-E292-21495CBBF8D8}"/>
              </a:ext>
            </a:extLst>
          </p:cNvPr>
          <p:cNvSpPr>
            <a:spLocks noGrp="1"/>
          </p:cNvSpPr>
          <p:nvPr>
            <p:ph type="title"/>
          </p:nvPr>
        </p:nvSpPr>
        <p:spPr/>
        <p:txBody>
          <a:bodyPr vert="horz"/>
          <a:lstStyle/>
          <a:p>
            <a:r>
              <a:rPr lang="de-CH" dirty="0"/>
              <a:t>Trade-offs in Forests – </a:t>
            </a:r>
            <a:r>
              <a:rPr lang="de-CH" dirty="0" err="1"/>
              <a:t>Results</a:t>
            </a:r>
            <a:r>
              <a:rPr lang="de-CH" dirty="0"/>
              <a:t> II</a:t>
            </a:r>
          </a:p>
        </p:txBody>
      </p:sp>
      <p:sp>
        <p:nvSpPr>
          <p:cNvPr id="3" name="Text Placeholder 2">
            <a:extLst>
              <a:ext uri="{FF2B5EF4-FFF2-40B4-BE49-F238E27FC236}">
                <a16:creationId xmlns:a16="http://schemas.microsoft.com/office/drawing/2014/main" id="{3A776601-1833-1D88-B292-E78859C1B1A5}"/>
              </a:ext>
            </a:extLst>
          </p:cNvPr>
          <p:cNvSpPr>
            <a:spLocks noGrp="1"/>
          </p:cNvSpPr>
          <p:nvPr>
            <p:ph type="body" sz="quarter" idx="13"/>
          </p:nvPr>
        </p:nvSpPr>
        <p:spPr/>
        <p:txBody>
          <a:bodyPr/>
          <a:lstStyle/>
          <a:p>
            <a:pPr marL="0" indent="0">
              <a:lnSpc>
                <a:spcPct val="100000"/>
              </a:lnSpc>
              <a:buNone/>
            </a:pPr>
            <a:r>
              <a:rPr lang="en-US" b="1" dirty="0"/>
              <a:t>Regulations in forestry and forest management</a:t>
            </a:r>
          </a:p>
          <a:p>
            <a:pPr marL="0" indent="0">
              <a:lnSpc>
                <a:spcPct val="100000"/>
              </a:lnSpc>
              <a:buNone/>
            </a:pPr>
            <a:r>
              <a:rPr lang="en-US" dirty="0"/>
              <a:t>We found that the forestry and forest sector generally rejects regulation—unless it concerns claims on forests made by other sectors. It is assumed that artificial markets (i.e., markets created through environmental regulations and institutions that limit certain emissions or resource use and issue tradable emission or usage rights) can resolve many of the trade-offs between sustainably operating sectors, as long as traditional forest use is protected by a strong regulatory framework. Strategies based on property rights can also represent a possible solution, especially with regard to small-scale forest owners.</a:t>
            </a:r>
            <a:endParaRPr lang="de-CH" dirty="0"/>
          </a:p>
        </p:txBody>
      </p:sp>
      <p:sp>
        <p:nvSpPr>
          <p:cNvPr id="4" name="Slide Number Placeholder 3">
            <a:extLst>
              <a:ext uri="{FF2B5EF4-FFF2-40B4-BE49-F238E27FC236}">
                <a16:creationId xmlns:a16="http://schemas.microsoft.com/office/drawing/2014/main" id="{4F5DCFD5-6409-2D41-E992-ECA4E2F56987}"/>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950083E9-CBB7-3D63-AA93-282FAA732634}"/>
              </a:ext>
            </a:extLst>
          </p:cNvPr>
          <p:cNvSpPr>
            <a:spLocks noGrp="1"/>
          </p:cNvSpPr>
          <p:nvPr>
            <p:ph type="ftr" sz="quarter" idx="15"/>
          </p:nvPr>
        </p:nvSpPr>
        <p:spPr>
          <a:xfrm>
            <a:off x="1525555" y="6368686"/>
            <a:ext cx="4114800" cy="252000"/>
          </a:xfrm>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4333970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68B65-5D7B-7129-060F-47878C66E13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03C91C-4B60-67BB-7326-FD226EE37B0D}"/>
              </a:ext>
            </a:extLst>
          </p:cNvPr>
          <p:cNvGraphicFramePr>
            <a:graphicFrameLocks noChangeAspect="1"/>
          </p:cNvGraphicFramePr>
          <p:nvPr>
            <p:custDataLst>
              <p:tags r:id="rId1"/>
            </p:custDataLst>
            <p:extLst>
              <p:ext uri="{D42A27DB-BD31-4B8C-83A1-F6EECF244321}">
                <p14:modId xmlns:p14="http://schemas.microsoft.com/office/powerpoint/2010/main" val="2197158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A03C91C-4B60-67BB-7326-FD226EE37B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244D15-3AB9-61BA-4B23-C264604229DD}"/>
              </a:ext>
            </a:extLst>
          </p:cNvPr>
          <p:cNvSpPr>
            <a:spLocks noGrp="1"/>
          </p:cNvSpPr>
          <p:nvPr>
            <p:ph type="title"/>
          </p:nvPr>
        </p:nvSpPr>
        <p:spPr/>
        <p:txBody>
          <a:bodyPr vert="horz"/>
          <a:lstStyle/>
          <a:p>
            <a:r>
              <a:rPr lang="de-CH" dirty="0"/>
              <a:t>Trade-offs in Forests – </a:t>
            </a:r>
            <a:r>
              <a:rPr lang="de-CH" dirty="0" err="1"/>
              <a:t>Results</a:t>
            </a:r>
            <a:r>
              <a:rPr lang="de-CH" dirty="0"/>
              <a:t> III</a:t>
            </a:r>
          </a:p>
        </p:txBody>
      </p:sp>
      <p:sp>
        <p:nvSpPr>
          <p:cNvPr id="3" name="Text Placeholder 2">
            <a:extLst>
              <a:ext uri="{FF2B5EF4-FFF2-40B4-BE49-F238E27FC236}">
                <a16:creationId xmlns:a16="http://schemas.microsoft.com/office/drawing/2014/main" id="{C28D0859-81E5-29F2-93FC-256729A166CB}"/>
              </a:ext>
            </a:extLst>
          </p:cNvPr>
          <p:cNvSpPr>
            <a:spLocks noGrp="1"/>
          </p:cNvSpPr>
          <p:nvPr>
            <p:ph type="body" sz="quarter" idx="13"/>
          </p:nvPr>
        </p:nvSpPr>
        <p:spPr/>
        <p:txBody>
          <a:bodyPr/>
          <a:lstStyle/>
          <a:p>
            <a:pPr marL="0" indent="0">
              <a:buNone/>
            </a:pPr>
            <a:r>
              <a:rPr lang="en-US" b="1" dirty="0"/>
              <a:t>Use of forest land for carbon sequestration</a:t>
            </a:r>
            <a:endParaRPr lang="en-US" dirty="0"/>
          </a:p>
          <a:p>
            <a:pPr marL="0" indent="0">
              <a:lnSpc>
                <a:spcPct val="100000"/>
              </a:lnSpc>
              <a:buNone/>
            </a:pPr>
            <a:r>
              <a:rPr lang="en-US" dirty="0"/>
              <a:t>Our case study on CO₂ sequestration and damage-mitigation strategies involving forest land (in the canton of Lucerne) showed that carbon sinks in forested areas are largely accepted by central and well-coordinated actors—such as the cantonal forest administration, regional forest-owner associations, foresters, and the wood-processing industry. Many younger forest owners who manage large areas but question the profitability of timber production also opt to increase standing timber volumes, produce firewood, and use forest land for carbon sequestration if this allows them to generate sufficient income.</a:t>
            </a:r>
            <a:endParaRPr lang="de-CH" dirty="0"/>
          </a:p>
        </p:txBody>
      </p:sp>
      <p:sp>
        <p:nvSpPr>
          <p:cNvPr id="4" name="Slide Number Placeholder 3">
            <a:extLst>
              <a:ext uri="{FF2B5EF4-FFF2-40B4-BE49-F238E27FC236}">
                <a16:creationId xmlns:a16="http://schemas.microsoft.com/office/drawing/2014/main" id="{F136F16F-6CC6-372C-D847-CFEE8EF11D16}"/>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534C6C02-8298-8D0B-2602-18A274C57E0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01102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16B84-A69D-2C1D-8D09-39C35370E1E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F4B1D3-F3CE-8E54-C3C7-A2D7679C217E}"/>
              </a:ext>
            </a:extLst>
          </p:cNvPr>
          <p:cNvGraphicFramePr>
            <a:graphicFrameLocks noChangeAspect="1"/>
          </p:cNvGraphicFramePr>
          <p:nvPr>
            <p:custDataLst>
              <p:tags r:id="rId1"/>
            </p:custDataLst>
            <p:extLst>
              <p:ext uri="{D42A27DB-BD31-4B8C-83A1-F6EECF244321}">
                <p14:modId xmlns:p14="http://schemas.microsoft.com/office/powerpoint/2010/main" val="2430230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1F4B1D3-F3CE-8E54-C3C7-A2D7679C217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1FB786-8447-72E4-4E94-0FB3E97A2A52}"/>
              </a:ext>
            </a:extLst>
          </p:cNvPr>
          <p:cNvSpPr>
            <a:spLocks noGrp="1"/>
          </p:cNvSpPr>
          <p:nvPr>
            <p:ph type="title"/>
          </p:nvPr>
        </p:nvSpPr>
        <p:spPr/>
        <p:txBody>
          <a:bodyPr vert="horz"/>
          <a:lstStyle/>
          <a:p>
            <a:r>
              <a:rPr lang="de-CH" dirty="0"/>
              <a:t>Trade-offs in Forests – </a:t>
            </a:r>
            <a:r>
              <a:rPr lang="de-CH" dirty="0" err="1"/>
              <a:t>Results</a:t>
            </a:r>
            <a:r>
              <a:rPr lang="de-CH" dirty="0"/>
              <a:t> IV</a:t>
            </a:r>
          </a:p>
        </p:txBody>
      </p:sp>
      <p:sp>
        <p:nvSpPr>
          <p:cNvPr id="3" name="Text Placeholder 2">
            <a:extLst>
              <a:ext uri="{FF2B5EF4-FFF2-40B4-BE49-F238E27FC236}">
                <a16:creationId xmlns:a16="http://schemas.microsoft.com/office/drawing/2014/main" id="{F906D751-9B54-FDC4-825D-2039CB4D7B2D}"/>
              </a:ext>
            </a:extLst>
          </p:cNvPr>
          <p:cNvSpPr>
            <a:spLocks noGrp="1"/>
          </p:cNvSpPr>
          <p:nvPr>
            <p:ph type="body" sz="quarter" idx="13"/>
          </p:nvPr>
        </p:nvSpPr>
        <p:spPr/>
        <p:txBody>
          <a:bodyPr/>
          <a:lstStyle/>
          <a:p>
            <a:pPr marL="0" indent="0">
              <a:lnSpc>
                <a:spcPct val="100000"/>
              </a:lnSpc>
              <a:buNone/>
            </a:pPr>
            <a:r>
              <a:rPr lang="de-CH" b="1" dirty="0" err="1"/>
              <a:t>Compensation</a:t>
            </a:r>
            <a:r>
              <a:rPr lang="de-CH" b="1" dirty="0"/>
              <a:t> </a:t>
            </a:r>
            <a:r>
              <a:rPr lang="de-CH" b="1" dirty="0" err="1"/>
              <a:t>measures</a:t>
            </a:r>
            <a:r>
              <a:rPr lang="de-CH" b="1" dirty="0"/>
              <a:t> in </a:t>
            </a:r>
            <a:r>
              <a:rPr lang="de-CH" b="1" dirty="0" err="1"/>
              <a:t>forests</a:t>
            </a:r>
            <a:endParaRPr lang="de-CH" b="1" dirty="0"/>
          </a:p>
          <a:p>
            <a:pPr marL="0" indent="0">
              <a:lnSpc>
                <a:spcPct val="100000"/>
              </a:lnSpc>
              <a:buNone/>
            </a:pPr>
            <a:r>
              <a:rPr lang="en-US" dirty="0"/>
              <a:t>Our second case study, which focused on forest clearings for compensation measures (in the canton of Bern), confirms the strong trade-off between economic sectors competing for land. A bilateral agreement concluded between cooperating stakeholder groups shows that there are politically feasible options (compensation within production processes or reforestation on urban land), whereas market-based solutions are rejected. A majority of forest owners oppose compensation measures in forests. A similar number of forest owners—though fewer than in the first case study (CO₂ sequestration and damage mitigation)—support compensation measures provided they are production-integrated measures at less profitable sites.</a:t>
            </a:r>
            <a:endParaRPr lang="de-CH" dirty="0"/>
          </a:p>
        </p:txBody>
      </p:sp>
      <p:sp>
        <p:nvSpPr>
          <p:cNvPr id="4" name="Slide Number Placeholder 3">
            <a:extLst>
              <a:ext uri="{FF2B5EF4-FFF2-40B4-BE49-F238E27FC236}">
                <a16:creationId xmlns:a16="http://schemas.microsoft.com/office/drawing/2014/main" id="{AE26C0A2-EEB8-3932-C227-8E7C9B7AA694}"/>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2142ED5D-544F-BAD2-F782-9F4DAF69515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5915560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72103-8F0A-7875-DD01-0E3AAB35E3CC}"/>
              </a:ext>
            </a:extLst>
          </p:cNvPr>
          <p:cNvSpPr>
            <a:spLocks noGrp="1"/>
          </p:cNvSpPr>
          <p:nvPr>
            <p:ph type="title"/>
          </p:nvPr>
        </p:nvSpPr>
        <p:spPr>
          <a:xfrm>
            <a:off x="479425" y="476250"/>
            <a:ext cx="11233150" cy="1044575"/>
          </a:xfrm>
        </p:spPr>
        <p:txBody>
          <a:bodyPr anchor="t">
            <a:normAutofit/>
          </a:bodyPr>
          <a:lstStyle/>
          <a:p>
            <a:r>
              <a:rPr lang="en-US" dirty="0"/>
              <a:t>Insurance value of forest ecosystems</a:t>
            </a:r>
          </a:p>
        </p:txBody>
      </p:sp>
      <p:sp>
        <p:nvSpPr>
          <p:cNvPr id="3" name="Text Placeholder 2">
            <a:extLst>
              <a:ext uri="{FF2B5EF4-FFF2-40B4-BE49-F238E27FC236}">
                <a16:creationId xmlns:a16="http://schemas.microsoft.com/office/drawing/2014/main" id="{E673B28F-08BC-0C7B-FB67-F391B1BE9CF5}"/>
              </a:ext>
            </a:extLst>
          </p:cNvPr>
          <p:cNvSpPr>
            <a:spLocks noGrp="1"/>
          </p:cNvSpPr>
          <p:nvPr>
            <p:ph type="body" sz="quarter" idx="13"/>
          </p:nvPr>
        </p:nvSpPr>
        <p:spPr>
          <a:xfrm>
            <a:off x="479425" y="1808163"/>
            <a:ext cx="5400675" cy="4213225"/>
          </a:xfrm>
        </p:spPr>
        <p:txBody>
          <a:bodyPr>
            <a:normAutofit/>
          </a:bodyPr>
          <a:lstStyle/>
          <a:p>
            <a:pPr marL="0" indent="0">
              <a:buNone/>
            </a:pPr>
            <a:r>
              <a:rPr lang="en-US" dirty="0"/>
              <a:t>“With this project, we analyzed what insurance services forest ecosystems can provide. To this end, public preferences were evaluated, and various institutional frameworks as well as facilitating and hindering factors were examined. Using the information obtained, a theoretical business model was developed that can serve as a basis for the practical implementation of insurance against natural hazards.”</a:t>
            </a:r>
          </a:p>
          <a:p>
            <a:pPr marL="0" indent="0">
              <a:buNone/>
            </a:pPr>
            <a:endParaRPr lang="en-US" dirty="0"/>
          </a:p>
          <a:p>
            <a:pPr algn="r">
              <a:spcAft>
                <a:spcPts val="600"/>
              </a:spcAft>
            </a:pPr>
            <a:r>
              <a:rPr lang="de-CH" dirty="0"/>
              <a:t>Prof. Dr. Roland Olschewski, Project </a:t>
            </a:r>
            <a:r>
              <a:rPr lang="de-CH" dirty="0" err="1"/>
              <a:t>lead</a:t>
            </a:r>
            <a:r>
              <a:rPr lang="de-CH" dirty="0"/>
              <a:t>,</a:t>
            </a:r>
            <a:br>
              <a:rPr lang="de-CH" dirty="0"/>
            </a:br>
            <a:r>
              <a:rPr lang="de-CH" dirty="0"/>
              <a:t>Insurance </a:t>
            </a:r>
            <a:r>
              <a:rPr lang="de-CH" dirty="0" err="1"/>
              <a:t>value</a:t>
            </a:r>
            <a:r>
              <a:rPr lang="de-CH" dirty="0"/>
              <a:t> </a:t>
            </a:r>
            <a:r>
              <a:rPr lang="de-CH" dirty="0" err="1"/>
              <a:t>of</a:t>
            </a:r>
            <a:r>
              <a:rPr lang="de-CH" dirty="0"/>
              <a:t> </a:t>
            </a:r>
            <a:r>
              <a:rPr lang="de-CH" dirty="0" err="1"/>
              <a:t>forest</a:t>
            </a:r>
            <a:r>
              <a:rPr lang="de-CH" dirty="0"/>
              <a:t> </a:t>
            </a:r>
            <a:r>
              <a:rPr lang="de-CH" dirty="0" err="1"/>
              <a:t>ecosystems</a:t>
            </a:r>
            <a:endParaRPr lang="de-CH" dirty="0"/>
          </a:p>
          <a:p>
            <a:pPr marL="0" indent="0">
              <a:spcAft>
                <a:spcPts val="600"/>
              </a:spcAft>
              <a:buNone/>
            </a:pPr>
            <a:endParaRPr lang="de-CH" dirty="0"/>
          </a:p>
          <a:p>
            <a:pPr>
              <a:spcAft>
                <a:spcPts val="600"/>
              </a:spcAft>
            </a:pPr>
            <a:endParaRPr lang="de-CH" dirty="0"/>
          </a:p>
        </p:txBody>
      </p:sp>
      <p:sp>
        <p:nvSpPr>
          <p:cNvPr id="4" name="Slide Number Placeholder 3">
            <a:extLst>
              <a:ext uri="{FF2B5EF4-FFF2-40B4-BE49-F238E27FC236}">
                <a16:creationId xmlns:a16="http://schemas.microsoft.com/office/drawing/2014/main" id="{A5D12573-B5CD-4D91-D9D4-1331A08402EB}"/>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6</a:t>
            </a:fld>
            <a:endParaRPr lang="de-CH"/>
          </a:p>
        </p:txBody>
      </p:sp>
      <p:sp>
        <p:nvSpPr>
          <p:cNvPr id="5" name="Footer Placeholder 4">
            <a:extLst>
              <a:ext uri="{FF2B5EF4-FFF2-40B4-BE49-F238E27FC236}">
                <a16:creationId xmlns:a16="http://schemas.microsoft.com/office/drawing/2014/main" id="{3216E489-EDBD-DF1A-2AF8-7716105C6A15}"/>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7" name="Picture 6" descr="A snow covered mountain with trees&#10;&#10;AI-generated content may be incorrect.">
            <a:extLst>
              <a:ext uri="{FF2B5EF4-FFF2-40B4-BE49-F238E27FC236}">
                <a16:creationId xmlns:a16="http://schemas.microsoft.com/office/drawing/2014/main" id="{3E90E4AF-7210-027A-2275-C035AB2938B3}"/>
              </a:ext>
            </a:extLst>
          </p:cNvPr>
          <p:cNvPicPr>
            <a:picLocks noChangeAspect="1"/>
          </p:cNvPicPr>
          <p:nvPr/>
        </p:nvPicPr>
        <p:blipFill>
          <a:blip r:embed="rId2">
            <a:extLst>
              <a:ext uri="{28A0092B-C50C-407E-A947-70E740481C1C}">
                <a14:useLocalDpi xmlns:a14="http://schemas.microsoft.com/office/drawing/2010/main" val="0"/>
              </a:ext>
            </a:extLst>
          </a:blip>
          <a:srcRect l="12621" r="8873" b="-2"/>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2673969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93F683-1086-808D-297A-2C2100C058E2}"/>
              </a:ext>
            </a:extLst>
          </p:cNvPr>
          <p:cNvGraphicFramePr>
            <a:graphicFrameLocks noChangeAspect="1"/>
          </p:cNvGraphicFramePr>
          <p:nvPr>
            <p:custDataLst>
              <p:tags r:id="rId1"/>
            </p:custDataLst>
            <p:extLst>
              <p:ext uri="{D42A27DB-BD31-4B8C-83A1-F6EECF244321}">
                <p14:modId xmlns:p14="http://schemas.microsoft.com/office/powerpoint/2010/main" val="2028848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C93F683-1086-808D-297A-2C2100C058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AF2DC5-4267-B5F3-A8CC-9910B07346A1}"/>
              </a:ext>
            </a:extLst>
          </p:cNvPr>
          <p:cNvSpPr>
            <a:spLocks noGrp="1"/>
          </p:cNvSpPr>
          <p:nvPr>
            <p:ph type="title"/>
          </p:nvPr>
        </p:nvSpPr>
        <p:spPr/>
        <p:txBody>
          <a:bodyPr vert="horz"/>
          <a:lstStyle/>
          <a:p>
            <a:r>
              <a:rPr lang="en-US" dirty="0"/>
              <a:t>Insurance value of forest ecosystems –</a:t>
            </a:r>
            <a:br>
              <a:rPr lang="en-US" dirty="0"/>
            </a:br>
            <a:r>
              <a:rPr lang="en-US" dirty="0"/>
              <a:t>Assignments</a:t>
            </a:r>
            <a:endParaRPr lang="de-CH" dirty="0"/>
          </a:p>
        </p:txBody>
      </p:sp>
      <p:sp>
        <p:nvSpPr>
          <p:cNvPr id="3" name="Text Placeholder 2">
            <a:extLst>
              <a:ext uri="{FF2B5EF4-FFF2-40B4-BE49-F238E27FC236}">
                <a16:creationId xmlns:a16="http://schemas.microsoft.com/office/drawing/2014/main" id="{3B0A6205-ED0D-EDD0-D590-2D19B604116A}"/>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What natural hazards does the forest protect against? Name at least three.</a:t>
            </a:r>
          </a:p>
          <a:p>
            <a:pPr marL="457200" indent="-457200">
              <a:lnSpc>
                <a:spcPct val="107000"/>
              </a:lnSpc>
              <a:spcAft>
                <a:spcPts val="400"/>
              </a:spcAft>
              <a:buFont typeface="+mj-lt"/>
              <a:buAutoNum type="arabicPeriod"/>
            </a:pPr>
            <a:r>
              <a:rPr lang="en-US" dirty="0"/>
              <a:t>Explain: What does “willingness to pay” mean?</a:t>
            </a:r>
          </a:p>
          <a:p>
            <a:pPr marL="457200" indent="-457200">
              <a:lnSpc>
                <a:spcPct val="107000"/>
              </a:lnSpc>
              <a:spcAft>
                <a:spcPts val="400"/>
              </a:spcAft>
              <a:buFont typeface="+mj-lt"/>
              <a:buAutoNum type="arabicPeriod"/>
            </a:pPr>
            <a:r>
              <a:rPr lang="en-US" dirty="0"/>
              <a:t>Explain: What must be considered when insuring against natural hazards?</a:t>
            </a:r>
          </a:p>
          <a:p>
            <a:pPr marL="457200" indent="-457200">
              <a:lnSpc>
                <a:spcPct val="107000"/>
              </a:lnSpc>
              <a:spcAft>
                <a:spcPts val="400"/>
              </a:spcAft>
              <a:buFont typeface="+mj-lt"/>
              <a:buAutoNum type="arabicPeriod"/>
            </a:pPr>
            <a:endParaRPr lang="de-CH" sz="1800" b="1" dirty="0"/>
          </a:p>
          <a:p>
            <a:pPr marL="0" indent="0">
              <a:buNone/>
            </a:pPr>
            <a:r>
              <a:rPr lang="de-CH" b="1" dirty="0"/>
              <a:t>Sources </a:t>
            </a:r>
            <a:r>
              <a:rPr lang="de-CH" b="1" dirty="0" err="1"/>
              <a:t>of</a:t>
            </a:r>
            <a:r>
              <a:rPr lang="de-CH" b="1" dirty="0"/>
              <a:t> </a:t>
            </a:r>
            <a:r>
              <a:rPr lang="de-CH" b="1" dirty="0" err="1"/>
              <a:t>knowledge</a:t>
            </a:r>
            <a:r>
              <a:rPr lang="de-CH" b="1" dirty="0"/>
              <a:t>: </a:t>
            </a:r>
          </a:p>
          <a:p>
            <a:pPr marL="0" indent="0">
              <a:lnSpc>
                <a:spcPct val="107000"/>
              </a:lnSpc>
              <a:spcAft>
                <a:spcPts val="400"/>
              </a:spcAft>
              <a:buNone/>
            </a:pPr>
            <a:r>
              <a:rPr lang="de-CH" dirty="0">
                <a:hlinkClick r:id="rId5"/>
              </a:rPr>
              <a:t>Insurance </a:t>
            </a:r>
            <a:r>
              <a:rPr lang="de-CH" dirty="0" err="1">
                <a:hlinkClick r:id="rId5"/>
              </a:rPr>
              <a:t>value</a:t>
            </a:r>
            <a:r>
              <a:rPr lang="de-CH" dirty="0">
                <a:hlinkClick r:id="rId5"/>
              </a:rPr>
              <a:t> </a:t>
            </a:r>
            <a:r>
              <a:rPr lang="de-CH" dirty="0" err="1">
                <a:hlinkClick r:id="rId5"/>
              </a:rPr>
              <a:t>of</a:t>
            </a:r>
            <a:r>
              <a:rPr lang="de-CH" dirty="0">
                <a:hlinkClick r:id="rId5"/>
              </a:rPr>
              <a:t> </a:t>
            </a:r>
            <a:r>
              <a:rPr lang="de-CH" dirty="0" err="1">
                <a:hlinkClick r:id="rId5"/>
              </a:rPr>
              <a:t>forest</a:t>
            </a:r>
            <a:r>
              <a:rPr lang="de-CH" dirty="0">
                <a:hlinkClick r:id="rId5"/>
              </a:rPr>
              <a:t> </a:t>
            </a:r>
            <a:r>
              <a:rPr lang="de-CH" dirty="0" err="1">
                <a:hlinkClick r:id="rId5"/>
              </a:rPr>
              <a:t>ecosystems</a:t>
            </a:r>
            <a:r>
              <a:rPr lang="de-CH" dirty="0">
                <a:hlinkClick r:id="rId5"/>
              </a:rPr>
              <a:t> </a:t>
            </a:r>
            <a:r>
              <a:rPr lang="de-CH" sz="1800" dirty="0"/>
              <a:t>(Website des NFP 73)</a:t>
            </a:r>
          </a:p>
          <a:p>
            <a:pPr marL="0" indent="0">
              <a:buNone/>
            </a:pPr>
            <a:r>
              <a:rPr lang="de-CH" dirty="0">
                <a:hlinkClick r:id="rId6"/>
              </a:rPr>
              <a:t>Forests and </a:t>
            </a:r>
            <a:r>
              <a:rPr lang="de-CH" dirty="0" err="1">
                <a:hlinkClick r:id="rId6"/>
              </a:rPr>
              <a:t>their</a:t>
            </a:r>
            <a:r>
              <a:rPr lang="de-CH" dirty="0">
                <a:hlinkClick r:id="rId6"/>
              </a:rPr>
              <a:t> </a:t>
            </a:r>
            <a:r>
              <a:rPr lang="de-CH" dirty="0" err="1">
                <a:hlinkClick r:id="rId6"/>
              </a:rPr>
              <a:t>services</a:t>
            </a:r>
            <a:r>
              <a:rPr lang="de-CH" dirty="0">
                <a:hlinkClick r:id="rId6"/>
              </a:rPr>
              <a:t> </a:t>
            </a:r>
            <a:r>
              <a:rPr lang="de-CH" dirty="0" err="1">
                <a:hlinkClick r:id="rId6"/>
              </a:rPr>
              <a:t>for</a:t>
            </a:r>
            <a:r>
              <a:rPr lang="de-CH" dirty="0">
                <a:hlinkClick r:id="rId6"/>
              </a:rPr>
              <a:t> </a:t>
            </a:r>
            <a:r>
              <a:rPr lang="de-CH" dirty="0" err="1">
                <a:hlinkClick r:id="rId6"/>
              </a:rPr>
              <a:t>people</a:t>
            </a:r>
            <a:r>
              <a:rPr lang="de-CH" dirty="0">
                <a:hlinkClick r:id="rId6"/>
              </a:rPr>
              <a:t> </a:t>
            </a:r>
            <a:r>
              <a:rPr lang="de-CH" dirty="0"/>
              <a:t>(Video, 3:30)</a:t>
            </a:r>
          </a:p>
          <a:p>
            <a:pPr marL="0" indent="0">
              <a:lnSpc>
                <a:spcPct val="107000"/>
              </a:lnSpc>
              <a:spcAft>
                <a:spcPts val="400"/>
              </a:spcAft>
              <a:buNone/>
            </a:pPr>
            <a:r>
              <a:rPr lang="en-US" sz="1800" dirty="0">
                <a:hlinkClick r:id="rId7"/>
              </a:rPr>
              <a:t>Insurance value of forest ecosystems</a:t>
            </a:r>
            <a:r>
              <a:rPr lang="en-US" sz="1800" dirty="0"/>
              <a:t> (Scientific lecture)</a:t>
            </a:r>
          </a:p>
          <a:p>
            <a:endParaRPr lang="de-CH" dirty="0"/>
          </a:p>
        </p:txBody>
      </p:sp>
      <p:sp>
        <p:nvSpPr>
          <p:cNvPr id="4" name="Slide Number Placeholder 3">
            <a:extLst>
              <a:ext uri="{FF2B5EF4-FFF2-40B4-BE49-F238E27FC236}">
                <a16:creationId xmlns:a16="http://schemas.microsoft.com/office/drawing/2014/main" id="{0A6ADB67-2DEC-B3DA-F443-46CD7846A63B}"/>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362BF44D-BEAB-98ED-230B-916576AA9E8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1369796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795CA3-FC9F-A619-0902-6B37341F8C85}"/>
              </a:ext>
            </a:extLst>
          </p:cNvPr>
          <p:cNvGraphicFramePr>
            <a:graphicFrameLocks noChangeAspect="1"/>
          </p:cNvGraphicFramePr>
          <p:nvPr>
            <p:custDataLst>
              <p:tags r:id="rId1"/>
            </p:custDataLst>
            <p:extLst>
              <p:ext uri="{D42A27DB-BD31-4B8C-83A1-F6EECF244321}">
                <p14:modId xmlns:p14="http://schemas.microsoft.com/office/powerpoint/2010/main" val="824834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A795CA3-FC9F-A619-0902-6B37341F8C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E0E8F3-6366-4D6A-A2E1-14B83F2D9863}"/>
              </a:ext>
            </a:extLst>
          </p:cNvPr>
          <p:cNvSpPr>
            <a:spLocks noGrp="1"/>
          </p:cNvSpPr>
          <p:nvPr>
            <p:ph type="title"/>
          </p:nvPr>
        </p:nvSpPr>
        <p:spPr/>
        <p:txBody>
          <a:bodyPr vert="horz"/>
          <a:lstStyle/>
          <a:p>
            <a:r>
              <a:rPr lang="en-US" dirty="0"/>
              <a:t>Insurance value of forest ecosystems – </a:t>
            </a:r>
            <a:r>
              <a:rPr lang="de-CH" dirty="0"/>
              <a:t>Background</a:t>
            </a:r>
          </a:p>
        </p:txBody>
      </p:sp>
      <p:sp>
        <p:nvSpPr>
          <p:cNvPr id="3" name="Slide Number Placeholder 2">
            <a:extLst>
              <a:ext uri="{FF2B5EF4-FFF2-40B4-BE49-F238E27FC236}">
                <a16:creationId xmlns:a16="http://schemas.microsoft.com/office/drawing/2014/main" id="{6AEDFBE5-151D-CB58-0BF2-22F37B49B797}"/>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4" name="Text Placeholder 3">
            <a:extLst>
              <a:ext uri="{FF2B5EF4-FFF2-40B4-BE49-F238E27FC236}">
                <a16:creationId xmlns:a16="http://schemas.microsoft.com/office/drawing/2014/main" id="{29E7572B-9C48-7F40-EF97-8AF267AA877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9F11AFE-CAA5-CF79-ECD8-FD08827CF16F}"/>
              </a:ext>
            </a:extLst>
          </p:cNvPr>
          <p:cNvSpPr>
            <a:spLocks noGrp="1"/>
          </p:cNvSpPr>
          <p:nvPr>
            <p:ph type="body" sz="quarter" idx="13"/>
          </p:nvPr>
        </p:nvSpPr>
        <p:spPr>
          <a:xfrm>
            <a:off x="479426" y="2565400"/>
            <a:ext cx="10620374" cy="3455988"/>
          </a:xfrm>
        </p:spPr>
        <p:txBody>
          <a:bodyPr/>
          <a:lstStyle/>
          <a:p>
            <a:r>
              <a:rPr lang="en-US" dirty="0"/>
              <a:t>Forest ecosystems often provide services free of charge, for example by protecting against natural hazards. If this protective function is improved through optimal forest management and contributes to risk prevention beyond legal requirements, forest owners are providing an additional insurance service for the exposed population. However, because they are usually not compensated for this service, </a:t>
            </a:r>
            <a:r>
              <a:rPr lang="en-US" dirty="0" err="1"/>
              <a:t>underprovision</a:t>
            </a:r>
            <a:r>
              <a:rPr lang="en-US" dirty="0"/>
              <a:t> may occur—meaning that the population receives less protection than would actually be desirable and possible.</a:t>
            </a:r>
          </a:p>
          <a:p>
            <a:endParaRPr lang="de-CH" dirty="0"/>
          </a:p>
        </p:txBody>
      </p:sp>
      <p:sp>
        <p:nvSpPr>
          <p:cNvPr id="6" name="Text Placeholder 5">
            <a:extLst>
              <a:ext uri="{FF2B5EF4-FFF2-40B4-BE49-F238E27FC236}">
                <a16:creationId xmlns:a16="http://schemas.microsoft.com/office/drawing/2014/main" id="{FBCC0CC4-EFB2-8BD8-F9E4-82148228DC0A}"/>
              </a:ext>
            </a:extLst>
          </p:cNvPr>
          <p:cNvSpPr>
            <a:spLocks noGrp="1"/>
          </p:cNvSpPr>
          <p:nvPr>
            <p:ph type="body" sz="quarter" idx="12"/>
          </p:nvPr>
        </p:nvSpPr>
        <p:spPr>
          <a:xfrm>
            <a:off x="479424" y="1808163"/>
            <a:ext cx="11244700" cy="587375"/>
          </a:xfrm>
        </p:spPr>
        <p:txBody>
          <a:bodyPr/>
          <a:lstStyle/>
          <a:p>
            <a:r>
              <a:rPr lang="de-CH" dirty="0"/>
              <a:t>Background</a:t>
            </a:r>
          </a:p>
        </p:txBody>
      </p:sp>
      <p:sp>
        <p:nvSpPr>
          <p:cNvPr id="8" name="Footer Placeholder 7">
            <a:extLst>
              <a:ext uri="{FF2B5EF4-FFF2-40B4-BE49-F238E27FC236}">
                <a16:creationId xmlns:a16="http://schemas.microsoft.com/office/drawing/2014/main" id="{16F51DAB-CB86-FF7C-D670-7A2C15DC74F3}"/>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8320193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ADEBB-3D55-20E4-BC81-385F243F8F6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E0C550-3117-655D-2312-391180FF45B0}"/>
              </a:ext>
            </a:extLst>
          </p:cNvPr>
          <p:cNvGraphicFramePr>
            <a:graphicFrameLocks noChangeAspect="1"/>
          </p:cNvGraphicFramePr>
          <p:nvPr>
            <p:custDataLst>
              <p:tags r:id="rId1"/>
            </p:custDataLst>
            <p:extLst>
              <p:ext uri="{D42A27DB-BD31-4B8C-83A1-F6EECF244321}">
                <p14:modId xmlns:p14="http://schemas.microsoft.com/office/powerpoint/2010/main" val="19283785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AE0C550-3117-655D-2312-391180FF45B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BF3F63-99A7-FBFF-7EAB-57D533FEF900}"/>
              </a:ext>
            </a:extLst>
          </p:cNvPr>
          <p:cNvSpPr>
            <a:spLocks noGrp="1"/>
          </p:cNvSpPr>
          <p:nvPr>
            <p:ph type="title"/>
          </p:nvPr>
        </p:nvSpPr>
        <p:spPr/>
        <p:txBody>
          <a:bodyPr vert="horz"/>
          <a:lstStyle/>
          <a:p>
            <a:r>
              <a:rPr lang="en-US" dirty="0"/>
              <a:t>Insurance value of forest ecosystems – </a:t>
            </a:r>
            <a:r>
              <a:rPr lang="de-CH" dirty="0" err="1"/>
              <a:t>Aim</a:t>
            </a:r>
            <a:endParaRPr lang="de-CH" dirty="0"/>
          </a:p>
        </p:txBody>
      </p:sp>
      <p:sp>
        <p:nvSpPr>
          <p:cNvPr id="3" name="Slide Number Placeholder 2">
            <a:extLst>
              <a:ext uri="{FF2B5EF4-FFF2-40B4-BE49-F238E27FC236}">
                <a16:creationId xmlns:a16="http://schemas.microsoft.com/office/drawing/2014/main" id="{9C491BAD-AB24-B6DD-E3DB-34A135500C17}"/>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D3FF0C02-D143-0FF3-0792-CC899FCB71ED}"/>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0E747B2-FFFC-59D5-97BD-333A11EBEE72}"/>
              </a:ext>
            </a:extLst>
          </p:cNvPr>
          <p:cNvSpPr>
            <a:spLocks noGrp="1"/>
          </p:cNvSpPr>
          <p:nvPr>
            <p:ph type="body" sz="quarter" idx="13"/>
          </p:nvPr>
        </p:nvSpPr>
        <p:spPr>
          <a:xfrm>
            <a:off x="479426" y="2565400"/>
            <a:ext cx="10620374" cy="3455988"/>
          </a:xfrm>
        </p:spPr>
        <p:txBody>
          <a:bodyPr/>
          <a:lstStyle/>
          <a:p>
            <a:pPr marL="0" indent="0">
              <a:buNone/>
            </a:pPr>
            <a:r>
              <a:rPr lang="en-US" dirty="0"/>
              <a:t>The project pursued the following objectives:</a:t>
            </a:r>
          </a:p>
          <a:p>
            <a:pPr marL="400050" indent="-400050">
              <a:buFont typeface="+mj-lt"/>
              <a:buAutoNum type="romanUcPeriod"/>
            </a:pPr>
            <a:r>
              <a:rPr lang="en-US" dirty="0"/>
              <a:t>to provide scientific evidence that ecosystems can deliver insurance services;</a:t>
            </a:r>
          </a:p>
          <a:p>
            <a:pPr marL="400050" indent="-400050">
              <a:buFont typeface="+mj-lt"/>
              <a:buAutoNum type="romanUcPeriod"/>
            </a:pPr>
            <a:r>
              <a:rPr lang="en-US" dirty="0"/>
              <a:t>to create a shared understanding and acceptance of the insurance value of natural resources among the involved actors;</a:t>
            </a:r>
          </a:p>
          <a:p>
            <a:pPr marL="400050" indent="-400050">
              <a:buFont typeface="+mj-lt"/>
              <a:buAutoNum type="romanUcPeriod"/>
            </a:pPr>
            <a:r>
              <a:rPr lang="en-US" dirty="0"/>
              <a:t>to demonstrate the potential and determine the value of insurance services provided through ecosystem management;</a:t>
            </a:r>
          </a:p>
          <a:p>
            <a:pPr marL="400050" indent="-400050">
              <a:buFont typeface="+mj-lt"/>
              <a:buAutoNum type="romanUcPeriod"/>
            </a:pPr>
            <a:r>
              <a:rPr lang="en-US" dirty="0"/>
              <a:t>to identify the influence of context and the institutional environment on the provision of insurance services; and</a:t>
            </a:r>
          </a:p>
          <a:p>
            <a:pPr marL="400050" indent="-400050">
              <a:buFont typeface="+mj-lt"/>
              <a:buAutoNum type="romanUcPeriod"/>
            </a:pPr>
            <a:r>
              <a:rPr lang="en-US" dirty="0"/>
              <a:t>to develop a business model that makes the insurance value of ecosystems usable for the insurance sector.</a:t>
            </a:r>
          </a:p>
          <a:p>
            <a:endParaRPr lang="de-CH" dirty="0"/>
          </a:p>
        </p:txBody>
      </p:sp>
      <p:sp>
        <p:nvSpPr>
          <p:cNvPr id="6" name="Text Placeholder 5">
            <a:extLst>
              <a:ext uri="{FF2B5EF4-FFF2-40B4-BE49-F238E27FC236}">
                <a16:creationId xmlns:a16="http://schemas.microsoft.com/office/drawing/2014/main" id="{1DA53B55-7D3A-E412-03E7-C44A18E3016A}"/>
              </a:ext>
            </a:extLst>
          </p:cNvPr>
          <p:cNvSpPr>
            <a:spLocks noGrp="1"/>
          </p:cNvSpPr>
          <p:nvPr>
            <p:ph type="body" sz="quarter" idx="12"/>
          </p:nvPr>
        </p:nvSpPr>
        <p:spPr>
          <a:xfrm>
            <a:off x="479424" y="1808163"/>
            <a:ext cx="11244700"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7813EDC6-6D8E-1964-AD3B-1E7712A5727C}"/>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554640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understands the ecosystem services of forests</a:t>
            </a:r>
          </a:p>
          <a:p>
            <a:r>
              <a:rPr lang="en-US" dirty="0"/>
              <a:t>reflects on the trade-offs in forestry</a:t>
            </a:r>
          </a:p>
          <a:p>
            <a:r>
              <a:rPr lang="en-US" dirty="0"/>
              <a:t>knows the insurance (risk-mitigation) services of forest ecosystems</a:t>
            </a:r>
          </a:p>
          <a:p>
            <a:pPr marL="0" indent="0">
              <a:buNone/>
            </a:pPr>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223342-1A8F-BB7F-E8C8-D63C69DC2C45}"/>
              </a:ext>
            </a:extLst>
          </p:cNvPr>
          <p:cNvGraphicFramePr>
            <a:graphicFrameLocks noChangeAspect="1"/>
          </p:cNvGraphicFramePr>
          <p:nvPr>
            <p:custDataLst>
              <p:tags r:id="rId1"/>
            </p:custDataLst>
            <p:extLst>
              <p:ext uri="{D42A27DB-BD31-4B8C-83A1-F6EECF244321}">
                <p14:modId xmlns:p14="http://schemas.microsoft.com/office/powerpoint/2010/main" val="35661701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B223342-1A8F-BB7F-E8C8-D63C69DC2C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994759-173C-166E-9125-D19C3D530974}"/>
              </a:ext>
            </a:extLst>
          </p:cNvPr>
          <p:cNvSpPr>
            <a:spLocks noGrp="1"/>
          </p:cNvSpPr>
          <p:nvPr>
            <p:ph type="title"/>
          </p:nvPr>
        </p:nvSpPr>
        <p:spPr/>
        <p:txBody>
          <a:bodyPr vert="horz"/>
          <a:lstStyle/>
          <a:p>
            <a:r>
              <a:rPr lang="en-US" dirty="0"/>
              <a:t>Insurance value of forest ecosystems – </a:t>
            </a:r>
            <a:r>
              <a:rPr lang="de-CH" dirty="0" err="1"/>
              <a:t>Results</a:t>
            </a:r>
            <a:r>
              <a:rPr lang="de-CH" dirty="0"/>
              <a:t> I</a:t>
            </a:r>
          </a:p>
        </p:txBody>
      </p:sp>
      <p:sp>
        <p:nvSpPr>
          <p:cNvPr id="3" name="Text Placeholder 2">
            <a:extLst>
              <a:ext uri="{FF2B5EF4-FFF2-40B4-BE49-F238E27FC236}">
                <a16:creationId xmlns:a16="http://schemas.microsoft.com/office/drawing/2014/main" id="{BB4BF1D1-F273-A383-C7FD-625A8F357399}"/>
              </a:ext>
            </a:extLst>
          </p:cNvPr>
          <p:cNvSpPr>
            <a:spLocks noGrp="1"/>
          </p:cNvSpPr>
          <p:nvPr>
            <p:ph type="body" sz="quarter" idx="13"/>
          </p:nvPr>
        </p:nvSpPr>
        <p:spPr/>
        <p:txBody>
          <a:bodyPr/>
          <a:lstStyle/>
          <a:p>
            <a:pPr>
              <a:lnSpc>
                <a:spcPct val="100000"/>
              </a:lnSpc>
              <a:buNone/>
            </a:pPr>
            <a:r>
              <a:rPr lang="en-US" b="1" dirty="0"/>
              <a:t>Quantification of protection against natural hazards</a:t>
            </a:r>
            <a:endParaRPr lang="de-CH" b="1" dirty="0"/>
          </a:p>
          <a:p>
            <a:pPr marL="0" indent="0">
              <a:lnSpc>
                <a:spcPct val="100000"/>
              </a:lnSpc>
              <a:buNone/>
              <a:tabLst>
                <a:tab pos="1255713" algn="l"/>
              </a:tabLst>
            </a:pPr>
            <a:r>
              <a:rPr lang="en-US" dirty="0"/>
              <a:t>We developed and validated a simulation framework for the scenario-based quantification of protection against natural hazards (and other ecosystem services) provided by mountain forests. This framework makes it possible to examine how climate, management, and disturbance factors such as wind, bark beetles, or rockfall affect the forest’s protective capacity. In the validation case study, the remaining rockfall risk was 20–30% depending on the forest development scenario. Stone size and forest density were the main factors determining protection </a:t>
            </a:r>
            <a:r>
              <a:rPr lang="en-US" dirty="0" err="1"/>
              <a:t>effectiveness.In</a:t>
            </a:r>
            <a:r>
              <a:rPr lang="en-US" dirty="0"/>
              <a:t> addition, our rockfall simulations showed that piles of deadwood left in the forest after storms have considerable protective capacity and even improve it compared to the forest stand before the storm. This surprising result confirms that nature-based protective solutions for gravitational natural hazards could become increasingly important from both an ecological and an economic perspective</a:t>
            </a:r>
            <a:endParaRPr lang="de-CH" dirty="0"/>
          </a:p>
        </p:txBody>
      </p:sp>
      <p:sp>
        <p:nvSpPr>
          <p:cNvPr id="4" name="Slide Number Placeholder 3">
            <a:extLst>
              <a:ext uri="{FF2B5EF4-FFF2-40B4-BE49-F238E27FC236}">
                <a16:creationId xmlns:a16="http://schemas.microsoft.com/office/drawing/2014/main" id="{8C35C429-1248-ECCB-631B-37689DB6FAB1}"/>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AC166D89-E324-3513-AF50-6DC2DBBBD77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8233474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F8A51-580F-5448-B9C5-E87E81EDAC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32EA85-58B7-646D-F43C-D1B610C06CD9}"/>
              </a:ext>
            </a:extLst>
          </p:cNvPr>
          <p:cNvGraphicFramePr>
            <a:graphicFrameLocks noChangeAspect="1"/>
          </p:cNvGraphicFramePr>
          <p:nvPr>
            <p:custDataLst>
              <p:tags r:id="rId1"/>
            </p:custDataLst>
            <p:extLst>
              <p:ext uri="{D42A27DB-BD31-4B8C-83A1-F6EECF244321}">
                <p14:modId xmlns:p14="http://schemas.microsoft.com/office/powerpoint/2010/main" val="16026571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832EA85-58B7-646D-F43C-D1B610C06C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989EE7-CE3A-97FA-44E7-B32386A9CFEC}"/>
              </a:ext>
            </a:extLst>
          </p:cNvPr>
          <p:cNvSpPr>
            <a:spLocks noGrp="1"/>
          </p:cNvSpPr>
          <p:nvPr>
            <p:ph type="title"/>
          </p:nvPr>
        </p:nvSpPr>
        <p:spPr/>
        <p:txBody>
          <a:bodyPr vert="horz"/>
          <a:lstStyle/>
          <a:p>
            <a:r>
              <a:rPr lang="en-US" dirty="0"/>
              <a:t>Insurance value of forest ecosystems – </a:t>
            </a:r>
            <a:r>
              <a:rPr lang="de-CH" dirty="0" err="1"/>
              <a:t>Results</a:t>
            </a:r>
            <a:r>
              <a:rPr lang="de-CH" dirty="0"/>
              <a:t> II</a:t>
            </a:r>
          </a:p>
        </p:txBody>
      </p:sp>
      <p:sp>
        <p:nvSpPr>
          <p:cNvPr id="3" name="Text Placeholder 2">
            <a:extLst>
              <a:ext uri="{FF2B5EF4-FFF2-40B4-BE49-F238E27FC236}">
                <a16:creationId xmlns:a16="http://schemas.microsoft.com/office/drawing/2014/main" id="{E3DBB279-8ECC-08ED-1DD2-3C7CE366BD78}"/>
              </a:ext>
            </a:extLst>
          </p:cNvPr>
          <p:cNvSpPr>
            <a:spLocks noGrp="1"/>
          </p:cNvSpPr>
          <p:nvPr>
            <p:ph type="body" sz="quarter" idx="13"/>
          </p:nvPr>
        </p:nvSpPr>
        <p:spPr/>
        <p:txBody>
          <a:bodyPr/>
          <a:lstStyle/>
          <a:p>
            <a:pPr>
              <a:lnSpc>
                <a:spcPct val="100000"/>
              </a:lnSpc>
              <a:buNone/>
            </a:pPr>
            <a:r>
              <a:rPr lang="en-US" b="1" dirty="0"/>
              <a:t>Incorporating protective forests into insurance models</a:t>
            </a:r>
          </a:p>
          <a:p>
            <a:pPr>
              <a:lnSpc>
                <a:spcPct val="100000"/>
              </a:lnSpc>
              <a:buNone/>
            </a:pPr>
            <a:r>
              <a:rPr lang="en-US" dirty="0"/>
              <a:t>Our experiment on the preferences of the affected population produced the following findings:</a:t>
            </a:r>
            <a:r>
              <a:rPr lang="de-CH" dirty="0"/>
              <a:t> </a:t>
            </a:r>
          </a:p>
          <a:p>
            <a:pPr marL="400050" indent="-400050">
              <a:lnSpc>
                <a:spcPct val="100000"/>
              </a:lnSpc>
              <a:buAutoNum type="romanLcParenBoth"/>
            </a:pPr>
            <a:r>
              <a:rPr lang="en-US" dirty="0"/>
              <a:t>there is a willingness to pay for reducing natural-hazard risks beyond current legal requirements;</a:t>
            </a:r>
          </a:p>
          <a:p>
            <a:pPr marL="400050" indent="-400050">
              <a:lnSpc>
                <a:spcPct val="100000"/>
              </a:lnSpc>
              <a:buAutoNum type="romanLcParenBoth"/>
            </a:pPr>
            <a:r>
              <a:rPr lang="en-US" dirty="0"/>
              <a:t>there is no single insurance model that fits all situations, because respondents’ preferences and willingness to pay—as well as regional contexts—vary too much;</a:t>
            </a:r>
          </a:p>
          <a:p>
            <a:pPr marL="400050" indent="-400050">
              <a:lnSpc>
                <a:spcPct val="100000"/>
              </a:lnSpc>
              <a:buAutoNum type="romanLcParenBoth"/>
            </a:pPr>
            <a:r>
              <a:rPr lang="en-US" dirty="0"/>
              <a:t>linking forest management with hazard modeling can lead to scientifically sound and practically relevant solutions for managing natural-hazard risks.</a:t>
            </a:r>
          </a:p>
          <a:p>
            <a:pPr marL="400050" indent="-400050">
              <a:lnSpc>
                <a:spcPct val="100000"/>
              </a:lnSpc>
              <a:buAutoNum type="romanLcParenBoth"/>
            </a:pPr>
            <a:endParaRPr lang="en-US" dirty="0"/>
          </a:p>
          <a:p>
            <a:pPr marL="0" indent="0">
              <a:lnSpc>
                <a:spcPct val="100000"/>
              </a:lnSpc>
              <a:buNone/>
            </a:pPr>
            <a:r>
              <a:rPr lang="en-US" dirty="0"/>
              <a:t>Our theoretical insurance model showed that including the protective function of forests as part of insurance contracts can create a win–win situation for both insurers and property owners. The possibility of combining financial and natural-hazard insurance can in turn encourage forest owners to ensure such protection through forests, which benefits society as a whole.</a:t>
            </a:r>
            <a:endParaRPr lang="de-CH" dirty="0"/>
          </a:p>
        </p:txBody>
      </p:sp>
      <p:sp>
        <p:nvSpPr>
          <p:cNvPr id="4" name="Slide Number Placeholder 3">
            <a:extLst>
              <a:ext uri="{FF2B5EF4-FFF2-40B4-BE49-F238E27FC236}">
                <a16:creationId xmlns:a16="http://schemas.microsoft.com/office/drawing/2014/main" id="{B9DD1BE4-3EF6-9795-CE83-B2283333343E}"/>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530A56C0-274F-7F47-1B67-A6546F2ADA5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477428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Discuss in pairs or groups of three at the end:</a:t>
            </a:r>
          </a:p>
          <a:p>
            <a:pPr marL="342900" indent="-342900">
              <a:buFont typeface="+mj-lt"/>
              <a:buAutoNum type="arabicPeriod"/>
            </a:pPr>
            <a:r>
              <a:rPr lang="en-US" dirty="0"/>
              <a:t>What surprised me about the research findings?</a:t>
            </a:r>
          </a:p>
          <a:p>
            <a:pPr marL="342900" indent="-342900">
              <a:buFont typeface="+mj-lt"/>
              <a:buAutoNum type="arabicPeriod"/>
            </a:pPr>
            <a:r>
              <a:rPr lang="en-US" dirty="0"/>
              <a:t>Which forest ecosystem services are particularly important for society?</a:t>
            </a:r>
          </a:p>
          <a:p>
            <a:pPr marL="342900" indent="-342900">
              <a:buFont typeface="+mj-lt"/>
              <a:buAutoNum type="arabicPeriod"/>
            </a:pPr>
            <a:r>
              <a:rPr lang="en-US" dirty="0"/>
              <a:t>What can I personally contribute to reducing trade-offs involving forests?</a:t>
            </a:r>
          </a:p>
          <a:p>
            <a:pPr marL="342900" indent="-342900">
              <a:buFont typeface="+mj-lt"/>
              <a:buAutoNum type="arabicPeriod"/>
            </a:pPr>
            <a:r>
              <a:rPr lang="en-US" dirty="0"/>
              <a:t>Would I be willing to pay for the protective function of forests?</a:t>
            </a:r>
          </a:p>
          <a:p>
            <a:pPr marL="342900" indent="-342900">
              <a:buFont typeface="+mj-lt"/>
              <a:buAutoNum type="arabicPeriod"/>
            </a:pPr>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baseline="-25000" dirty="0"/>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72722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en-US" dirty="0"/>
              <a:t>Further sources for in-depth study on the topic</a:t>
            </a:r>
            <a:endParaRPr lang="de-CH" dirty="0"/>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9703337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buFont typeface="Arial" panose="020B0604020202020204" pitchFamily="34" charset="0"/>
              <a:buChar char="•"/>
            </a:pPr>
            <a:r>
              <a:rPr lang="en-US" dirty="0"/>
              <a:t>Suitable for use in bachelor’s programs at Swiss universities</a:t>
            </a:r>
          </a:p>
          <a:p>
            <a:pPr>
              <a:buFont typeface="Arial" panose="020B0604020202020204" pitchFamily="34" charset="0"/>
              <a:buChar char="•"/>
            </a:pPr>
            <a:r>
              <a:rPr lang="en-US" dirty="0"/>
              <a:t>Also suitable as an introduction for master’s and continuing-education programs at Swiss universities</a:t>
            </a:r>
          </a:p>
          <a:p>
            <a:pPr>
              <a:buFont typeface="Arial" panose="020B0604020202020204" pitchFamily="34" charset="0"/>
              <a:buChar char="•"/>
            </a:pPr>
            <a:r>
              <a:rPr lang="en-US" dirty="0"/>
              <a:t>Suitable for self-study; can also be used in classroom teaching</a:t>
            </a:r>
          </a:p>
          <a:p>
            <a:pPr>
              <a:buFont typeface="Arial" panose="020B0604020202020204" pitchFamily="34" charset="0"/>
              <a:buChar char="•"/>
            </a:pPr>
            <a:r>
              <a:rPr lang="en-US" dirty="0"/>
              <a:t>Scope: 3–4 hours of learning time, with an additional 3–4 hours for in-depth study</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06316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a:t>NFP </a:t>
            </a:r>
            <a:r>
              <a:rPr lang="en-US" dirty="0"/>
              <a:t>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R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R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en-US" dirty="0"/>
              <a:t>Please try, using your prior knowledge and experience, to answer the following questions. Ideally, discuss your answers with a colleague</a:t>
            </a:r>
            <a:r>
              <a:rPr lang="de-CH" sz="1800" dirty="0"/>
              <a:t>:</a:t>
            </a:r>
          </a:p>
          <a:p>
            <a:r>
              <a:rPr lang="en-US" dirty="0"/>
              <a:t>What significance do forests have for me? What attitude do I have toward forestry, and why?</a:t>
            </a:r>
          </a:p>
          <a:p>
            <a:r>
              <a:rPr lang="en-US" dirty="0"/>
              <a:t>My prior knowledge: What are the most important challenges of sustainable forestry?</a:t>
            </a:r>
          </a:p>
          <a:p>
            <a:r>
              <a:rPr lang="en-US" dirty="0"/>
              <a:t>Who and what influence forests and forestry the most? Which sectors and professions have a major impact, and why?</a:t>
            </a:r>
          </a:p>
          <a:p>
            <a:r>
              <a:rPr lang="en-US" dirty="0"/>
              <a:t>What services do forests provide in Switzerland, and what are the biggest trade-offs?</a:t>
            </a:r>
          </a:p>
          <a:p>
            <a:r>
              <a:rPr lang="en-US" dirty="0"/>
              <a:t>Which SDGs are particularly relevant for this focus area?</a:t>
            </a:r>
          </a:p>
          <a:p>
            <a:r>
              <a:rPr lang="en-US" dirty="0"/>
              <a:t>To which sustainability goals are there important links, and what are they?</a:t>
            </a: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cxnSp>
        <p:nvCxnSpPr>
          <p:cNvPr id="22" name="Straight Connector 21">
            <a:extLst>
              <a:ext uri="{FF2B5EF4-FFF2-40B4-BE49-F238E27FC236}">
                <a16:creationId xmlns:a16="http://schemas.microsoft.com/office/drawing/2014/main" id="{A038FA49-7B0D-D9F6-FF90-B15AC05DB52C}"/>
              </a:ext>
            </a:extLst>
          </p:cNvPr>
          <p:cNvCxnSpPr>
            <a:cxnSpLocks/>
          </p:cNvCxnSpPr>
          <p:nvPr/>
        </p:nvCxnSpPr>
        <p:spPr>
          <a:xfrm flipV="1">
            <a:off x="5835401" y="1810120"/>
            <a:ext cx="1070224" cy="979548"/>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BE2E4D07-F223-C056-72B3-A12ECE9CD5FB}"/>
              </a:ext>
            </a:extLst>
          </p:cNvPr>
          <p:cNvCxnSpPr>
            <a:cxnSpLocks/>
          </p:cNvCxnSpPr>
          <p:nvPr/>
        </p:nvCxnSpPr>
        <p:spPr>
          <a:xfrm flipV="1">
            <a:off x="6640020" y="3447692"/>
            <a:ext cx="1375235" cy="20269"/>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E81F8E59-0263-7BE8-00DA-EDC84B0456CB}"/>
              </a:ext>
            </a:extLst>
          </p:cNvPr>
          <p:cNvCxnSpPr>
            <a:cxnSpLocks/>
          </p:cNvCxnSpPr>
          <p:nvPr/>
        </p:nvCxnSpPr>
        <p:spPr>
          <a:xfrm>
            <a:off x="6459740" y="4069214"/>
            <a:ext cx="777208" cy="621044"/>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4B9799D-87CC-6CFE-7B40-625EE6B888F4}"/>
              </a:ext>
            </a:extLst>
          </p:cNvPr>
          <p:cNvCxnSpPr>
            <a:cxnSpLocks/>
          </p:cNvCxnSpPr>
          <p:nvPr/>
        </p:nvCxnSpPr>
        <p:spPr>
          <a:xfrm>
            <a:off x="3026456" y="3477359"/>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0539D1E-310A-76DD-7162-766A1F6B5273}"/>
              </a:ext>
            </a:extLst>
          </p:cNvPr>
          <p:cNvCxnSpPr/>
          <p:nvPr/>
        </p:nvCxnSpPr>
        <p:spPr>
          <a:xfrm>
            <a:off x="4324350" y="1914712"/>
            <a:ext cx="1066800" cy="874956"/>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CB9768F7-E30E-DAC9-127F-A1B0DB6C555F}"/>
              </a:ext>
            </a:extLst>
          </p:cNvPr>
          <p:cNvCxnSpPr>
            <a:cxnSpLocks/>
          </p:cNvCxnSpPr>
          <p:nvPr/>
        </p:nvCxnSpPr>
        <p:spPr>
          <a:xfrm flipV="1">
            <a:off x="3745690" y="4068333"/>
            <a:ext cx="1107377" cy="826790"/>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6C1125C-1F1F-8647-39B1-FE1CABB2C428}"/>
              </a:ext>
            </a:extLst>
          </p:cNvPr>
          <p:cNvCxnSpPr>
            <a:cxnSpLocks/>
          </p:cNvCxnSpPr>
          <p:nvPr/>
        </p:nvCxnSpPr>
        <p:spPr>
          <a:xfrm>
            <a:off x="5569965" y="4030732"/>
            <a:ext cx="0" cy="1190013"/>
          </a:xfrm>
          <a:prstGeom prst="line">
            <a:avLst/>
          </a:prstGeom>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F6C32FE7-029D-0D08-F136-B4AD0A4F8235}"/>
              </a:ext>
            </a:extLst>
          </p:cNvPr>
          <p:cNvSpPr/>
          <p:nvPr/>
        </p:nvSpPr>
        <p:spPr>
          <a:xfrm>
            <a:off x="4717968" y="3005131"/>
            <a:ext cx="1735753"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TextBox 9">
            <a:extLst>
              <a:ext uri="{FF2B5EF4-FFF2-40B4-BE49-F238E27FC236}">
                <a16:creationId xmlns:a16="http://schemas.microsoft.com/office/drawing/2014/main" id="{3AE8E319-1EE1-68F0-CD1F-370C14620E6F}"/>
              </a:ext>
            </a:extLst>
          </p:cNvPr>
          <p:cNvSpPr txBox="1"/>
          <p:nvPr/>
        </p:nvSpPr>
        <p:spPr>
          <a:xfrm>
            <a:off x="5010543" y="3229870"/>
            <a:ext cx="1536328" cy="634276"/>
          </a:xfrm>
          <a:prstGeom prst="rect">
            <a:avLst/>
          </a:prstGeom>
          <a:noFill/>
        </p:spPr>
        <p:txBody>
          <a:bodyPr wrap="square" lIns="0" tIns="0" rIns="0" bIns="0" rtlCol="0">
            <a:spAutoFit/>
          </a:bodyPr>
          <a:lstStyle/>
          <a:p>
            <a:pPr algn="l">
              <a:lnSpc>
                <a:spcPct val="120000"/>
              </a:lnSpc>
            </a:pPr>
            <a:r>
              <a:rPr lang="de-CH" dirty="0"/>
              <a:t>Forest Management</a:t>
            </a:r>
          </a:p>
        </p:txBody>
      </p:sp>
      <p:pic>
        <p:nvPicPr>
          <p:cNvPr id="3" name="Picture 2" descr="Sustainable Development Goal 13 - Wikipedia">
            <a:extLst>
              <a:ext uri="{FF2B5EF4-FFF2-40B4-BE49-F238E27FC236}">
                <a16:creationId xmlns:a16="http://schemas.microsoft.com/office/drawing/2014/main" id="{91399D2B-9765-D8D7-4ABD-6887080D63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6319" y="2970556"/>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descr="SDG 12 – Responsible Consumption And Production – Tourism for SDGs">
            <a:extLst>
              <a:ext uri="{FF2B5EF4-FFF2-40B4-BE49-F238E27FC236}">
                <a16:creationId xmlns:a16="http://schemas.microsoft.com/office/drawing/2014/main" id="{29D063D7-BACE-5F52-3BF0-51432A63C4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7619" y="1410884"/>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Goal 15: Life on land">
            <a:extLst>
              <a:ext uri="{FF2B5EF4-FFF2-40B4-BE49-F238E27FC236}">
                <a16:creationId xmlns:a16="http://schemas.microsoft.com/office/drawing/2014/main" id="{7C229D30-D287-D240-E85D-3FB2E8952B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9852" y="5286608"/>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DG 3 - Plattform Agenda 2030">
            <a:extLst>
              <a:ext uri="{FF2B5EF4-FFF2-40B4-BE49-F238E27FC236}">
                <a16:creationId xmlns:a16="http://schemas.microsoft.com/office/drawing/2014/main" id="{34B3300F-38A9-16BA-C760-EAB53A8A42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9715" y="1367594"/>
            <a:ext cx="1013590" cy="101359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ustainable Development Goal 6 - Wikipedia">
            <a:extLst>
              <a:ext uri="{FF2B5EF4-FFF2-40B4-BE49-F238E27FC236}">
                <a16:creationId xmlns:a16="http://schemas.microsoft.com/office/drawing/2014/main" id="{A11BADF6-6125-F479-996A-2BC3B030F0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27637" y="4579757"/>
            <a:ext cx="1003746" cy="10037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Sustainable Development Goal 9 - Wikipedia">
            <a:extLst>
              <a:ext uri="{FF2B5EF4-FFF2-40B4-BE49-F238E27FC236}">
                <a16:creationId xmlns:a16="http://schemas.microsoft.com/office/drawing/2014/main" id="{21180222-E3C7-F29B-043C-D90716E97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3022" y="2945473"/>
            <a:ext cx="1004437" cy="100443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DG 7 - Plattform Agenda 2030">
            <a:extLst>
              <a:ext uri="{FF2B5EF4-FFF2-40B4-BE49-F238E27FC236}">
                <a16:creationId xmlns:a16="http://schemas.microsoft.com/office/drawing/2014/main" id="{7572397C-4136-E52D-6855-F68EC8B98E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22767" y="4619979"/>
            <a:ext cx="1044575" cy="1044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err="1"/>
              <a:t>Introductory</a:t>
            </a:r>
            <a:r>
              <a:rPr lang="de-CH" dirty="0"/>
              <a:t> </a:t>
            </a:r>
            <a:r>
              <a:rPr lang="de-CH" dirty="0" err="1"/>
              <a:t>Exercises</a:t>
            </a:r>
            <a:endParaRPr lang="de-CH" dirty="0"/>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514350" indent="-514350">
              <a:buFont typeface="+mj-lt"/>
              <a:buAutoNum type="arabicPeriod"/>
            </a:pPr>
            <a:r>
              <a:rPr lang="en-US" dirty="0"/>
              <a:t>What does “mainstreaming of forest ecosystem services” mean, and what are these services?</a:t>
            </a:r>
          </a:p>
          <a:p>
            <a:pPr marL="514350" indent="-514350">
              <a:buFont typeface="+mj-lt"/>
              <a:buAutoNum type="arabicPeriod"/>
            </a:pPr>
            <a:r>
              <a:rPr lang="en-US" dirty="0"/>
              <a:t>How can people be made aware of the services provided by forests?</a:t>
            </a:r>
          </a:p>
          <a:p>
            <a:pPr marL="514350" indent="-514350">
              <a:buFont typeface="+mj-lt"/>
              <a:buAutoNum type="arabicPeriod"/>
            </a:pPr>
            <a:r>
              <a:rPr lang="en-US" dirty="0"/>
              <a:t>What challenges does the forest have to cope with?</a:t>
            </a:r>
          </a:p>
          <a:p>
            <a:pPr marL="514350" indent="-514350">
              <a:buFont typeface="+mj-lt"/>
              <a:buAutoNum type="arabicPeriod"/>
            </a:pPr>
            <a:endParaRPr lang="de-CH" sz="1800" dirty="0"/>
          </a:p>
          <a:p>
            <a:pPr marL="0" indent="0">
              <a:buNone/>
            </a:pPr>
            <a:r>
              <a:rPr lang="de-CH" b="1" dirty="0"/>
              <a:t>Sources </a:t>
            </a:r>
            <a:r>
              <a:rPr lang="de-CH" b="1" dirty="0" err="1"/>
              <a:t>of</a:t>
            </a:r>
            <a:r>
              <a:rPr lang="de-CH" b="1" dirty="0"/>
              <a:t> </a:t>
            </a:r>
            <a:r>
              <a:rPr lang="de-CH" b="1" dirty="0" err="1"/>
              <a:t>knowledge</a:t>
            </a:r>
            <a:r>
              <a:rPr lang="de-CH" b="1" dirty="0"/>
              <a:t>: </a:t>
            </a:r>
          </a:p>
          <a:p>
            <a:pPr marL="0" indent="0">
              <a:buNone/>
            </a:pPr>
            <a:r>
              <a:rPr lang="de-CH" sz="1800" dirty="0">
                <a:hlinkClick r:id="rId2"/>
              </a:rPr>
              <a:t>Focus Forest Management </a:t>
            </a:r>
            <a:r>
              <a:rPr lang="de-CH" sz="1800" dirty="0"/>
              <a:t>(Website NPF 73)</a:t>
            </a:r>
          </a:p>
          <a:p>
            <a:pPr marL="0" indent="0">
              <a:buNone/>
            </a:pPr>
            <a:r>
              <a:rPr lang="de-CH" dirty="0">
                <a:hlinkClick r:id="rId3"/>
              </a:rPr>
              <a:t>Forests and </a:t>
            </a:r>
            <a:r>
              <a:rPr lang="de-CH" dirty="0" err="1">
                <a:hlinkClick r:id="rId3"/>
              </a:rPr>
              <a:t>their</a:t>
            </a:r>
            <a:r>
              <a:rPr lang="de-CH" dirty="0">
                <a:hlinkClick r:id="rId3"/>
              </a:rPr>
              <a:t> </a:t>
            </a:r>
            <a:r>
              <a:rPr lang="de-CH" dirty="0" err="1">
                <a:hlinkClick r:id="rId3"/>
              </a:rPr>
              <a:t>services</a:t>
            </a:r>
            <a:r>
              <a:rPr lang="de-CH" dirty="0">
                <a:hlinkClick r:id="rId3"/>
              </a:rPr>
              <a:t> </a:t>
            </a:r>
            <a:r>
              <a:rPr lang="de-CH" dirty="0" err="1">
                <a:hlinkClick r:id="rId3"/>
              </a:rPr>
              <a:t>for</a:t>
            </a:r>
            <a:r>
              <a:rPr lang="de-CH" dirty="0">
                <a:hlinkClick r:id="rId3"/>
              </a:rPr>
              <a:t> </a:t>
            </a:r>
            <a:r>
              <a:rPr lang="de-CH" dirty="0" err="1">
                <a:hlinkClick r:id="rId3"/>
              </a:rPr>
              <a:t>people</a:t>
            </a:r>
            <a:r>
              <a:rPr lang="de-CH" dirty="0">
                <a:hlinkClick r:id="rId3"/>
              </a:rPr>
              <a:t> </a:t>
            </a:r>
            <a:r>
              <a:rPr lang="de-CH" dirty="0"/>
              <a:t>(Video, 3:30)</a:t>
            </a:r>
            <a:endParaRPr lang="de-CH" sz="1800" dirty="0"/>
          </a:p>
          <a:p>
            <a:pPr marL="0" indent="0">
              <a:buNone/>
            </a:pPr>
            <a:r>
              <a:rPr lang="de-CH" sz="1800" dirty="0">
                <a:hlinkClick r:id="rId4"/>
              </a:rPr>
              <a:t>Der Wald steht vor grossen Herausforderungen</a:t>
            </a:r>
            <a:r>
              <a:rPr lang="de-CH" sz="1800" dirty="0"/>
              <a:t> (Podcast in German)</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2F1AA6A-FEFD-28A8-4FF3-5582E2662715}"/>
              </a:ext>
            </a:extLst>
          </p:cNvPr>
          <p:cNvGraphicFramePr>
            <a:graphicFrameLocks noChangeAspect="1"/>
          </p:cNvGraphicFramePr>
          <p:nvPr>
            <p:custDataLst>
              <p:tags r:id="rId1"/>
            </p:custDataLst>
            <p:extLst>
              <p:ext uri="{D42A27DB-BD31-4B8C-83A1-F6EECF244321}">
                <p14:modId xmlns:p14="http://schemas.microsoft.com/office/powerpoint/2010/main" val="32466100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D2F1AA6A-FEFD-28A8-4FF3-5582E266271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C4D92E-429C-F176-7DB8-D09A82BB0ED5}"/>
              </a:ext>
            </a:extLst>
          </p:cNvPr>
          <p:cNvSpPr>
            <a:spLocks noGrp="1"/>
          </p:cNvSpPr>
          <p:nvPr>
            <p:ph type="title"/>
          </p:nvPr>
        </p:nvSpPr>
        <p:spPr/>
        <p:txBody>
          <a:bodyPr vert="horz"/>
          <a:lstStyle/>
          <a:p>
            <a:r>
              <a:rPr lang="de-CH" dirty="0"/>
              <a:t>Forest Management – Background</a:t>
            </a:r>
          </a:p>
        </p:txBody>
      </p:sp>
      <p:sp>
        <p:nvSpPr>
          <p:cNvPr id="3" name="Slide Number Placeholder 2">
            <a:extLst>
              <a:ext uri="{FF2B5EF4-FFF2-40B4-BE49-F238E27FC236}">
                <a16:creationId xmlns:a16="http://schemas.microsoft.com/office/drawing/2014/main" id="{755F34F3-BAC0-D322-4200-AE61F08C8035}"/>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C029C0B3-9FAE-A213-5E7B-6B2862FC7C7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50597C0-CFC9-8F79-C693-175A163416B6}"/>
              </a:ext>
            </a:extLst>
          </p:cNvPr>
          <p:cNvSpPr>
            <a:spLocks noGrp="1"/>
          </p:cNvSpPr>
          <p:nvPr>
            <p:ph type="body" sz="quarter" idx="13"/>
          </p:nvPr>
        </p:nvSpPr>
        <p:spPr>
          <a:xfrm>
            <a:off x="479426" y="2565400"/>
            <a:ext cx="7777162" cy="3455988"/>
          </a:xfrm>
        </p:spPr>
        <p:txBody>
          <a:bodyPr/>
          <a:lstStyle/>
          <a:p>
            <a:r>
              <a:rPr lang="en-US" dirty="0"/>
              <a:t>Forests provide a wide range of services such as timber, CO₂ storage, protection from natural hazards, and they contribute to the conservation of biodiversity. Strategies to address major global challenges (mitigating climate change, promoting renewable energy, etc.) are increasing the demand for forest services.</a:t>
            </a:r>
          </a:p>
          <a:p>
            <a:r>
              <a:rPr lang="en-US" dirty="0"/>
              <a:t>This is why adjustments in forest management, political instruments, and prioritization mechanisms are needed. Many policymakers and stakeholders are not fully aware of these complex interconnections, which is why the “mainstreaming” of forest services should have a high political priority.</a:t>
            </a:r>
          </a:p>
          <a:p>
            <a:endParaRPr lang="de-CH" dirty="0"/>
          </a:p>
        </p:txBody>
      </p:sp>
      <p:sp>
        <p:nvSpPr>
          <p:cNvPr id="6" name="Text Placeholder 5">
            <a:extLst>
              <a:ext uri="{FF2B5EF4-FFF2-40B4-BE49-F238E27FC236}">
                <a16:creationId xmlns:a16="http://schemas.microsoft.com/office/drawing/2014/main" id="{3DF1DA83-D907-455C-0274-80607F12242E}"/>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DD127240-3D56-7E1C-EA03-6C26BCDE45CE}"/>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3" name="Picture 12" descr="A large stack of cut wood&#10;&#10;AI-generated content may be incorrect.">
            <a:extLst>
              <a:ext uri="{FF2B5EF4-FFF2-40B4-BE49-F238E27FC236}">
                <a16:creationId xmlns:a16="http://schemas.microsoft.com/office/drawing/2014/main" id="{E16F9C0E-98BD-7A94-42EF-9C74B5BB0BC8}"/>
              </a:ext>
            </a:extLst>
          </p:cNvPr>
          <p:cNvPicPr>
            <a:picLocks noChangeAspect="1"/>
          </p:cNvPicPr>
          <p:nvPr/>
        </p:nvPicPr>
        <p:blipFill>
          <a:blip r:embed="rId5">
            <a:extLst>
              <a:ext uri="{28A0092B-C50C-407E-A947-70E740481C1C}">
                <a14:useLocalDpi xmlns:a14="http://schemas.microsoft.com/office/drawing/2010/main" val="0"/>
              </a:ext>
            </a:extLst>
          </a:blip>
          <a:srcRect t="16041" r="54111"/>
          <a:stretch>
            <a:fillRect/>
          </a:stretch>
        </p:blipFill>
        <p:spPr>
          <a:xfrm>
            <a:off x="8256589" y="1797852"/>
            <a:ext cx="3455986" cy="4213224"/>
          </a:xfrm>
          <a:prstGeom prst="rect">
            <a:avLst/>
          </a:prstGeom>
        </p:spPr>
      </p:pic>
    </p:spTree>
    <p:extLst>
      <p:ext uri="{BB962C8B-B14F-4D97-AF65-F5344CB8AC3E}">
        <p14:creationId xmlns:p14="http://schemas.microsoft.com/office/powerpoint/2010/main" val="3527244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3FF09-BD40-1907-6A68-A80962220AE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101C3A-16E5-C745-52C8-8EB37091E2F1}"/>
              </a:ext>
            </a:extLst>
          </p:cNvPr>
          <p:cNvGraphicFramePr>
            <a:graphicFrameLocks noChangeAspect="1"/>
          </p:cNvGraphicFramePr>
          <p:nvPr>
            <p:custDataLst>
              <p:tags r:id="rId1"/>
            </p:custDataLst>
            <p:extLst>
              <p:ext uri="{D42A27DB-BD31-4B8C-83A1-F6EECF244321}">
                <p14:modId xmlns:p14="http://schemas.microsoft.com/office/powerpoint/2010/main" val="11711940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101C3A-16E5-C745-52C8-8EB37091E2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F7C146-CAE7-9658-7142-861EF5F7D40A}"/>
              </a:ext>
            </a:extLst>
          </p:cNvPr>
          <p:cNvSpPr>
            <a:spLocks noGrp="1"/>
          </p:cNvSpPr>
          <p:nvPr>
            <p:ph type="title"/>
          </p:nvPr>
        </p:nvSpPr>
        <p:spPr/>
        <p:txBody>
          <a:bodyPr vert="horz"/>
          <a:lstStyle/>
          <a:p>
            <a:r>
              <a:rPr lang="de-CH" dirty="0"/>
              <a:t>Forest </a:t>
            </a:r>
            <a:r>
              <a:rPr lang="de-CH" dirty="0" err="1"/>
              <a:t>Managment</a:t>
            </a:r>
            <a:r>
              <a:rPr lang="de-CH" dirty="0"/>
              <a:t> – </a:t>
            </a:r>
            <a:r>
              <a:rPr lang="de-CH" dirty="0" err="1"/>
              <a:t>Aim</a:t>
            </a:r>
            <a:endParaRPr lang="de-CH" dirty="0"/>
          </a:p>
        </p:txBody>
      </p:sp>
      <p:sp>
        <p:nvSpPr>
          <p:cNvPr id="3" name="Slide Number Placeholder 2">
            <a:extLst>
              <a:ext uri="{FF2B5EF4-FFF2-40B4-BE49-F238E27FC236}">
                <a16:creationId xmlns:a16="http://schemas.microsoft.com/office/drawing/2014/main" id="{BD7A9E22-6001-42C5-6753-853C196B7BB0}"/>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4" name="Text Placeholder 3">
            <a:extLst>
              <a:ext uri="{FF2B5EF4-FFF2-40B4-BE49-F238E27FC236}">
                <a16:creationId xmlns:a16="http://schemas.microsoft.com/office/drawing/2014/main" id="{967C9053-846B-40D4-D5FA-EA713AF171F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2D8A27E-7B95-E161-6AC5-4FC83318C1E2}"/>
              </a:ext>
            </a:extLst>
          </p:cNvPr>
          <p:cNvSpPr>
            <a:spLocks noGrp="1"/>
          </p:cNvSpPr>
          <p:nvPr>
            <p:ph type="body" sz="quarter" idx="13"/>
          </p:nvPr>
        </p:nvSpPr>
        <p:spPr>
          <a:xfrm>
            <a:off x="479426" y="2565400"/>
            <a:ext cx="10625454" cy="3455988"/>
          </a:xfrm>
        </p:spPr>
        <p:txBody>
          <a:bodyPr/>
          <a:lstStyle/>
          <a:p>
            <a:r>
              <a:rPr lang="en-US" dirty="0"/>
              <a:t>The synthesis emphasizes how crucial it is to incorporate a broad range of ecosystem services into political, economic, and individual decision-making. It also highlights project results that can contribute to the design of effective policy instruments—for example, creating markets for forest services (CO₂ storage, biodiversity offsets), as well as developing decision-support tools for forest enterprises.</a:t>
            </a:r>
          </a:p>
          <a:p>
            <a:endParaRPr lang="de-CH" dirty="0"/>
          </a:p>
        </p:txBody>
      </p:sp>
      <p:sp>
        <p:nvSpPr>
          <p:cNvPr id="6" name="Text Placeholder 5">
            <a:extLst>
              <a:ext uri="{FF2B5EF4-FFF2-40B4-BE49-F238E27FC236}">
                <a16:creationId xmlns:a16="http://schemas.microsoft.com/office/drawing/2014/main" id="{5F007EAF-6FB2-C6AF-9817-B4B2056C5C97}"/>
              </a:ext>
            </a:extLst>
          </p:cNvPr>
          <p:cNvSpPr>
            <a:spLocks noGrp="1"/>
          </p:cNvSpPr>
          <p:nvPr>
            <p:ph type="body" sz="quarter" idx="12"/>
          </p:nvPr>
        </p:nvSpPr>
        <p:spPr>
          <a:xfrm>
            <a:off x="479424" y="1808163"/>
            <a:ext cx="11250078"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E288F55A-94FE-85AF-0208-BD15A00184E4}"/>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41864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B39F2F-2C3C-5982-9149-5990C45AC1AC}"/>
              </a:ext>
            </a:extLst>
          </p:cNvPr>
          <p:cNvGraphicFramePr>
            <a:graphicFrameLocks noChangeAspect="1"/>
          </p:cNvGraphicFramePr>
          <p:nvPr>
            <p:custDataLst>
              <p:tags r:id="rId1"/>
            </p:custDataLst>
            <p:extLst>
              <p:ext uri="{D42A27DB-BD31-4B8C-83A1-F6EECF244321}">
                <p14:modId xmlns:p14="http://schemas.microsoft.com/office/powerpoint/2010/main" val="1435044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0B39F2F-2C3C-5982-9149-5990C45AC1A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CC728D-778A-119E-F5BC-B2BFC04A352F}"/>
              </a:ext>
            </a:extLst>
          </p:cNvPr>
          <p:cNvSpPr>
            <a:spLocks noGrp="1"/>
          </p:cNvSpPr>
          <p:nvPr>
            <p:ph type="title"/>
          </p:nvPr>
        </p:nvSpPr>
        <p:spPr/>
        <p:txBody>
          <a:bodyPr vert="horz"/>
          <a:lstStyle/>
          <a:p>
            <a:r>
              <a:rPr lang="en-US" dirty="0"/>
              <a:t>Significance for research and practice</a:t>
            </a:r>
            <a:endParaRPr lang="de-CH" dirty="0"/>
          </a:p>
        </p:txBody>
      </p:sp>
      <p:sp>
        <p:nvSpPr>
          <p:cNvPr id="3" name="Text Placeholder 2">
            <a:extLst>
              <a:ext uri="{FF2B5EF4-FFF2-40B4-BE49-F238E27FC236}">
                <a16:creationId xmlns:a16="http://schemas.microsoft.com/office/drawing/2014/main" id="{62F2AC87-3FC1-3E96-2509-CB6708476BB0}"/>
              </a:ext>
            </a:extLst>
          </p:cNvPr>
          <p:cNvSpPr>
            <a:spLocks noGrp="1"/>
          </p:cNvSpPr>
          <p:nvPr>
            <p:ph type="body" sz="quarter" idx="13"/>
          </p:nvPr>
        </p:nvSpPr>
        <p:spPr/>
        <p:txBody>
          <a:bodyPr/>
          <a:lstStyle/>
          <a:p>
            <a:pPr marL="0" indent="0">
              <a:buNone/>
            </a:pPr>
            <a:r>
              <a:rPr lang="en-US" b="1" dirty="0"/>
              <a:t>Forests and forest ecosystem services play a central role in adapting to climate change, conserving biological diversity, and transitioning to a sustainable economy. </a:t>
            </a:r>
            <a:r>
              <a:rPr lang="en-US" dirty="0"/>
              <a:t>This should be taken into account in future research. In addition to identifying synergies and conflicts across a wide range of (economic) sectors and vertically across levels of administration, it is crucial to develop instruments that support the “mainstreaming” of forest services and thereby both private and public decision-making.</a:t>
            </a:r>
          </a:p>
          <a:p>
            <a:pPr marL="0" indent="0">
              <a:buNone/>
            </a:pPr>
            <a:r>
              <a:rPr lang="en-US" dirty="0"/>
              <a:t>Thanks to close collaboration and exchanges with stakeholders—especially the Federal Office for the Environment, forest owner associations, cantonal authorities, and NGOs—our synthesis has helped ensure that forest services are considered more concretely in forest policy and forest management, alongside the still more commonly used concept of forest functions. With the prototype of an IT-based decision-support system, the foundation has been laid for the development of a broadly applicable decision-making tool for forest management.</a:t>
            </a:r>
          </a:p>
          <a:p>
            <a:endParaRPr lang="de-CH" dirty="0"/>
          </a:p>
        </p:txBody>
      </p:sp>
      <p:sp>
        <p:nvSpPr>
          <p:cNvPr id="4" name="Slide Number Placeholder 3">
            <a:extLst>
              <a:ext uri="{FF2B5EF4-FFF2-40B4-BE49-F238E27FC236}">
                <a16:creationId xmlns:a16="http://schemas.microsoft.com/office/drawing/2014/main" id="{9085AB22-3D9E-B3C1-90C8-577F30278041}"/>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DDC25C0B-9C28-1361-4D74-B1F9D409BBD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47346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0</TotalTime>
  <Words>3299</Words>
  <Application>Microsoft Office PowerPoint</Application>
  <PresentationFormat>Widescreen</PresentationFormat>
  <Paragraphs>238</Paragraphs>
  <Slides>3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1" baseType="lpstr">
      <vt:lpstr>Arial</vt:lpstr>
      <vt:lpstr>Open Sans</vt:lpstr>
      <vt:lpstr>Times</vt:lpstr>
      <vt:lpstr>SNF</vt:lpstr>
      <vt:lpstr>think-cell Slide</vt:lpstr>
      <vt:lpstr>Forest management</vt:lpstr>
      <vt:lpstr>Focus Forest Management</vt:lpstr>
      <vt:lpstr>Learning Objectives</vt:lpstr>
      <vt:lpstr>Introductory Questions</vt:lpstr>
      <vt:lpstr>Links to the United Nations Sustainable Development Goals</vt:lpstr>
      <vt:lpstr>Introductory Exercises</vt:lpstr>
      <vt:lpstr>Forest Management – Background</vt:lpstr>
      <vt:lpstr>Forest Managment – Aim</vt:lpstr>
      <vt:lpstr>Significance for research and practice</vt:lpstr>
      <vt:lpstr>Overview research projects</vt:lpstr>
      <vt:lpstr>Ecosystem services of forests</vt:lpstr>
      <vt:lpstr>Ecosystem services of forests – Assignments</vt:lpstr>
      <vt:lpstr>Ecosystem services of forests – Background</vt:lpstr>
      <vt:lpstr>Ecosystem services of forests – Aim</vt:lpstr>
      <vt:lpstr>Ecosystem services of forests – Results I</vt:lpstr>
      <vt:lpstr>Ecosystem services of forests – Results II</vt:lpstr>
      <vt:lpstr>Ecosystem services of forests – Overall performance</vt:lpstr>
      <vt:lpstr>Trade-offs in Forests</vt:lpstr>
      <vt:lpstr>Trade-offs in Forests – Assignments</vt:lpstr>
      <vt:lpstr>Trade-offs in Forests – Background </vt:lpstr>
      <vt:lpstr>Trade-offs in Forests – Aim  </vt:lpstr>
      <vt:lpstr>Trade-offs in Forests – Results I</vt:lpstr>
      <vt:lpstr>Trade-offs in Forests – Results II</vt:lpstr>
      <vt:lpstr>Trade-offs in Forests – Results III</vt:lpstr>
      <vt:lpstr>Trade-offs in Forests – Results IV</vt:lpstr>
      <vt:lpstr>Insurance value of forest ecosystems</vt:lpstr>
      <vt:lpstr>Insurance value of forest ecosystems – Assignments</vt:lpstr>
      <vt:lpstr>Insurance value of forest ecosystems – Background</vt:lpstr>
      <vt:lpstr>Insurance value of forest ecosystems – Aim</vt:lpstr>
      <vt:lpstr>Insurance value of forest ecosystems – Results I</vt:lpstr>
      <vt:lpstr>Insurance value of forest ecosystems – Results II</vt:lpstr>
      <vt:lpstr>Final Discussion</vt:lpstr>
      <vt:lpstr>Appendix</vt:lpstr>
      <vt:lpstr>Further sources for in-depth study on the topic</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58</cp:revision>
  <dcterms:created xsi:type="dcterms:W3CDTF">2022-05-16T14:25:03Z</dcterms:created>
  <dcterms:modified xsi:type="dcterms:W3CDTF">2026-02-04T14:3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